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5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6.xml" ContentType="application/vnd.openxmlformats-officedocument.presentationml.tags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8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tags/tag9.xml" ContentType="application/vnd.openxmlformats-officedocument.presentationml.tags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tags/tag10.xml" ContentType="application/vnd.openxmlformats-officedocument.presentationml.tags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24"/>
  </p:notesMasterIdLst>
  <p:sldIdLst>
    <p:sldId id="334" r:id="rId2"/>
    <p:sldId id="367" r:id="rId3"/>
    <p:sldId id="338" r:id="rId4"/>
    <p:sldId id="336" r:id="rId5"/>
    <p:sldId id="340" r:id="rId6"/>
    <p:sldId id="369" r:id="rId7"/>
    <p:sldId id="343" r:id="rId8"/>
    <p:sldId id="361" r:id="rId9"/>
    <p:sldId id="339" r:id="rId10"/>
    <p:sldId id="353" r:id="rId11"/>
    <p:sldId id="354" r:id="rId12"/>
    <p:sldId id="355" r:id="rId13"/>
    <p:sldId id="371" r:id="rId14"/>
    <p:sldId id="364" r:id="rId15"/>
    <p:sldId id="365" r:id="rId16"/>
    <p:sldId id="356" r:id="rId17"/>
    <p:sldId id="337" r:id="rId18"/>
    <p:sldId id="357" r:id="rId19"/>
    <p:sldId id="358" r:id="rId20"/>
    <p:sldId id="359" r:id="rId21"/>
    <p:sldId id="360" r:id="rId22"/>
    <p:sldId id="373" r:id="rId23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orient="horz" pos="2618">
          <p15:clr>
            <a:srgbClr val="A4A3A4"/>
          </p15:clr>
        </p15:guide>
        <p15:guide id="3" orient="horz" pos="1756">
          <p15:clr>
            <a:srgbClr val="A4A3A4"/>
          </p15:clr>
        </p15:guide>
        <p15:guide id="4" orient="horz" pos="1711">
          <p15:clr>
            <a:srgbClr val="A4A3A4"/>
          </p15:clr>
        </p15:guide>
        <p15:guide id="5" orient="horz" pos="123">
          <p15:clr>
            <a:srgbClr val="A4A3A4"/>
          </p15:clr>
        </p15:guide>
        <p15:guide id="6" orient="horz" pos="3117">
          <p15:clr>
            <a:srgbClr val="A4A3A4"/>
          </p15:clr>
        </p15:guide>
        <p15:guide id="7" orient="horz" pos="3026">
          <p15:clr>
            <a:srgbClr val="A4A3A4"/>
          </p15:clr>
        </p15:guide>
        <p15:guide id="8" orient="horz" pos="2845">
          <p15:clr>
            <a:srgbClr val="A4A3A4"/>
          </p15:clr>
        </p15:guide>
        <p15:guide id="9" pos="249">
          <p15:clr>
            <a:srgbClr val="A4A3A4"/>
          </p15:clr>
        </p15:guide>
        <p15:guide id="10" pos="2857">
          <p15:clr>
            <a:srgbClr val="A4A3A4"/>
          </p15:clr>
        </p15:guide>
        <p15:guide id="11" pos="2903">
          <p15:clr>
            <a:srgbClr val="A4A3A4"/>
          </p15:clr>
        </p15:guide>
        <p15:guide id="12" pos="3787">
          <p15:clr>
            <a:srgbClr val="A4A3A4"/>
          </p15:clr>
        </p15:guide>
        <p15:guide id="13" pos="3742">
          <p15:clr>
            <a:srgbClr val="A4A3A4"/>
          </p15:clr>
        </p15:guide>
        <p15:guide id="14" pos="2018">
          <p15:clr>
            <a:srgbClr val="A4A3A4"/>
          </p15:clr>
        </p15:guide>
        <p15:guide id="15" pos="1973">
          <p15:clr>
            <a:srgbClr val="A4A3A4"/>
          </p15:clr>
        </p15:guide>
        <p15:guide id="16" pos="5511">
          <p15:clr>
            <a:srgbClr val="A4A3A4"/>
          </p15:clr>
        </p15:guide>
        <p15:guide id="17" pos="113">
          <p15:clr>
            <a:srgbClr val="A4A3A4"/>
          </p15:clr>
        </p15:guide>
        <p15:guide id="18" pos="5647">
          <p15:clr>
            <a:srgbClr val="A4A3A4"/>
          </p15:clr>
        </p15:guide>
        <p15:guide id="19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747474"/>
    <a:srgbClr val="A6A6A6"/>
    <a:srgbClr val="B2B2B2"/>
    <a:srgbClr val="EAEAEA"/>
    <a:srgbClr val="FFFDFD"/>
    <a:srgbClr val="FFFDFE"/>
    <a:srgbClr val="FFFEFE"/>
    <a:srgbClr val="FFFEF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3" autoAdjust="0"/>
    <p:restoredTop sz="85714" autoAdjust="0"/>
  </p:normalViewPr>
  <p:slideViewPr>
    <p:cSldViewPr snapToObjects="1" showGuides="1">
      <p:cViewPr varScale="1">
        <p:scale>
          <a:sx n="146" d="100"/>
          <a:sy n="146" d="100"/>
        </p:scale>
        <p:origin x="1080" y="144"/>
      </p:cViewPr>
      <p:guideLst>
        <p:guide orient="horz" pos="849"/>
        <p:guide orient="horz" pos="2618"/>
        <p:guide orient="horz" pos="1756"/>
        <p:guide orient="horz" pos="1711"/>
        <p:guide orient="horz" pos="123"/>
        <p:guide orient="horz" pos="3117"/>
        <p:guide orient="horz" pos="3026"/>
        <p:guide orient="horz" pos="2845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0" d="100"/>
          <a:sy n="80" d="100"/>
        </p:scale>
        <p:origin x="401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/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/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/>
      <dgm:t>
        <a:bodyPr/>
        <a:lstStyle/>
        <a:p>
          <a:r>
            <a:rPr lang="de-DE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/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C1A49AE-4D3C-4966-B76D-E817A94F18E1}" type="presOf" srcId="{A3D5F0A7-E6BA-47E1-93DC-819B199F41AF}" destId="{4138D66E-7609-4AFC-89D8-350352B5A604}" srcOrd="0" destOrd="0" presId="urn:microsoft.com/office/officeart/2005/8/layout/chevron1"/>
    <dgm:cxn modelId="{3922A90F-7E97-4378-96AA-AE38F48A28F8}" type="presOf" srcId="{4885F4DF-0060-444E-A4F2-619F86522FBD}" destId="{6148B87C-E64C-4C43-B37F-9E3A5076D5EE}" srcOrd="0" destOrd="0" presId="urn:microsoft.com/office/officeart/2005/8/layout/chevron1"/>
    <dgm:cxn modelId="{B229F853-0A4F-4BA4-9AAF-1EFBB7928CEE}" type="presOf" srcId="{D23B3068-9B5B-49BC-B3D5-22DE72F1E79A}" destId="{ABB4D728-E6F7-4EF1-AC07-C02EDC113325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F7363E3F-AB0F-430D-91CA-D001ABC05210}" type="presOf" srcId="{F95188BC-0B65-4306-B4A7-FBE2469CDD4D}" destId="{A5DFD14F-61F3-45C4-A219-DFE568119900}" srcOrd="0" destOrd="0" presId="urn:microsoft.com/office/officeart/2005/8/layout/chevron1"/>
    <dgm:cxn modelId="{8F3A4D44-5434-458E-9B4E-F31A479E9FCD}" type="presOf" srcId="{F8DCBD60-778F-4700-8A74-0E88B35059B9}" destId="{1E0AD08E-63F9-450F-889A-1D8E6A0803F2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F5E77D08-067B-4F33-AB26-395CFB2B8BDA}" type="presParOf" srcId="{4138D66E-7609-4AFC-89D8-350352B5A604}" destId="{6148B87C-E64C-4C43-B37F-9E3A5076D5EE}" srcOrd="0" destOrd="0" presId="urn:microsoft.com/office/officeart/2005/8/layout/chevron1"/>
    <dgm:cxn modelId="{3BB94ABD-5559-4CCC-BB38-4E73891DBC02}" type="presParOf" srcId="{4138D66E-7609-4AFC-89D8-350352B5A604}" destId="{2FFD88A4-C520-4962-9C84-FAA658E0E4D8}" srcOrd="1" destOrd="0" presId="urn:microsoft.com/office/officeart/2005/8/layout/chevron1"/>
    <dgm:cxn modelId="{AB82BB38-1E16-4912-ACE1-3E17EB7ADF2C}" type="presParOf" srcId="{4138D66E-7609-4AFC-89D8-350352B5A604}" destId="{A5DFD14F-61F3-45C4-A219-DFE568119900}" srcOrd="2" destOrd="0" presId="urn:microsoft.com/office/officeart/2005/8/layout/chevron1"/>
    <dgm:cxn modelId="{73EC97BD-BB5D-43B9-BFFB-CE70CF70F763}" type="presParOf" srcId="{4138D66E-7609-4AFC-89D8-350352B5A604}" destId="{F2727692-CC1B-4E69-9B43-BEF6C16BFFD8}" srcOrd="3" destOrd="0" presId="urn:microsoft.com/office/officeart/2005/8/layout/chevron1"/>
    <dgm:cxn modelId="{8D168003-509C-4E45-A1B3-C5A67A12F7CA}" type="presParOf" srcId="{4138D66E-7609-4AFC-89D8-350352B5A604}" destId="{1E0AD08E-63F9-450F-889A-1D8E6A0803F2}" srcOrd="4" destOrd="0" presId="urn:microsoft.com/office/officeart/2005/8/layout/chevron1"/>
    <dgm:cxn modelId="{EDA6CB9A-D8D9-47CB-8C69-281F9ED6E435}" type="presParOf" srcId="{4138D66E-7609-4AFC-89D8-350352B5A604}" destId="{80E631F5-9D40-4D7D-A6B6-BD4A737FDD22}" srcOrd="5" destOrd="0" presId="urn:microsoft.com/office/officeart/2005/8/layout/chevron1"/>
    <dgm:cxn modelId="{444D3DC5-577A-46B9-B584-8276442DFDF6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16309295-7850-4BA4-A980-BAC5A9FB0EF4}" type="presOf" srcId="{4885F4DF-0060-444E-A4F2-619F86522FBD}" destId="{6148B87C-E64C-4C43-B37F-9E3A5076D5EE}" srcOrd="0" destOrd="0" presId="urn:microsoft.com/office/officeart/2005/8/layout/chevron1"/>
    <dgm:cxn modelId="{AD0C36B3-12D4-4119-A9F1-14112E275E01}" type="presOf" srcId="{F8DCBD60-778F-4700-8A74-0E88B35059B9}" destId="{1E0AD08E-63F9-450F-889A-1D8E6A0803F2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FC337B9C-90E8-481D-BCA9-6900A2AC1AF7}" type="presOf" srcId="{A3D5F0A7-E6BA-47E1-93DC-819B199F41AF}" destId="{4138D66E-7609-4AFC-89D8-350352B5A604}" srcOrd="0" destOrd="0" presId="urn:microsoft.com/office/officeart/2005/8/layout/chevron1"/>
    <dgm:cxn modelId="{6E79EFCA-FE21-4127-9789-3CAB957B8D7E}" type="presOf" srcId="{F95188BC-0B65-4306-B4A7-FBE2469CDD4D}" destId="{A5DFD14F-61F3-45C4-A219-DFE568119900}" srcOrd="0" destOrd="0" presId="urn:microsoft.com/office/officeart/2005/8/layout/chevron1"/>
    <dgm:cxn modelId="{F0916654-6D33-42D9-A581-4ACE41C5F078}" type="presParOf" srcId="{4138D66E-7609-4AFC-89D8-350352B5A604}" destId="{6148B87C-E64C-4C43-B37F-9E3A5076D5EE}" srcOrd="0" destOrd="0" presId="urn:microsoft.com/office/officeart/2005/8/layout/chevron1"/>
    <dgm:cxn modelId="{BF490B4E-7AAC-479F-BDFE-41673B77450E}" type="presParOf" srcId="{4138D66E-7609-4AFC-89D8-350352B5A604}" destId="{2FFD88A4-C520-4962-9C84-FAA658E0E4D8}" srcOrd="1" destOrd="0" presId="urn:microsoft.com/office/officeart/2005/8/layout/chevron1"/>
    <dgm:cxn modelId="{51D8F4C5-29B6-49AF-AB78-B6FDAF1A74C9}" type="presParOf" srcId="{4138D66E-7609-4AFC-89D8-350352B5A604}" destId="{A5DFD14F-61F3-45C4-A219-DFE568119900}" srcOrd="2" destOrd="0" presId="urn:microsoft.com/office/officeart/2005/8/layout/chevron1"/>
    <dgm:cxn modelId="{65081729-19AD-46EC-A8F9-EF22AA45974F}" type="presParOf" srcId="{4138D66E-7609-4AFC-89D8-350352B5A604}" destId="{F2727692-CC1B-4E69-9B43-BEF6C16BFFD8}" srcOrd="3" destOrd="0" presId="urn:microsoft.com/office/officeart/2005/8/layout/chevron1"/>
    <dgm:cxn modelId="{950EC018-1528-412A-AF90-DD2B643AFFD2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FD4AD7-E298-4AB6-98AF-EE923163987D}" type="presOf" srcId="{A3D5F0A7-E6BA-47E1-93DC-819B199F41AF}" destId="{4138D66E-7609-4AFC-89D8-350352B5A604}" srcOrd="0" destOrd="0" presId="urn:microsoft.com/office/officeart/2005/8/layout/chevron1"/>
    <dgm:cxn modelId="{71D5C9B5-3D39-43C2-B77A-E7AD5617BCA8}" type="presOf" srcId="{D23B3068-9B5B-49BC-B3D5-22DE72F1E79A}" destId="{ABB4D728-E6F7-4EF1-AC07-C02EDC113325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7FA2882C-3D8D-4800-AA79-C0B9C7BAACD9}" type="presOf" srcId="{F8DCBD60-778F-4700-8A74-0E88B35059B9}" destId="{1E0AD08E-63F9-450F-889A-1D8E6A0803F2}" srcOrd="0" destOrd="0" presId="urn:microsoft.com/office/officeart/2005/8/layout/chevron1"/>
    <dgm:cxn modelId="{A15285A3-576B-4F96-B36A-B7B503C8BBA2}" type="presOf" srcId="{4885F4DF-0060-444E-A4F2-619F86522FBD}" destId="{6148B87C-E64C-4C43-B37F-9E3A5076D5EE}" srcOrd="0" destOrd="0" presId="urn:microsoft.com/office/officeart/2005/8/layout/chevron1"/>
    <dgm:cxn modelId="{05B428C4-345F-4091-9FC6-6B867E35BDFF}" type="presOf" srcId="{F95188BC-0B65-4306-B4A7-FBE2469CDD4D}" destId="{A5DFD14F-61F3-45C4-A219-DFE568119900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5F35CB9A-723F-44CA-ABD8-D133442CF063}" type="presParOf" srcId="{4138D66E-7609-4AFC-89D8-350352B5A604}" destId="{6148B87C-E64C-4C43-B37F-9E3A5076D5EE}" srcOrd="0" destOrd="0" presId="urn:microsoft.com/office/officeart/2005/8/layout/chevron1"/>
    <dgm:cxn modelId="{CFCA935D-841A-4706-8272-6326F46F319B}" type="presParOf" srcId="{4138D66E-7609-4AFC-89D8-350352B5A604}" destId="{2FFD88A4-C520-4962-9C84-FAA658E0E4D8}" srcOrd="1" destOrd="0" presId="urn:microsoft.com/office/officeart/2005/8/layout/chevron1"/>
    <dgm:cxn modelId="{ECAF2B6C-C41E-40DD-B6A4-B73991395D23}" type="presParOf" srcId="{4138D66E-7609-4AFC-89D8-350352B5A604}" destId="{A5DFD14F-61F3-45C4-A219-DFE568119900}" srcOrd="2" destOrd="0" presId="urn:microsoft.com/office/officeart/2005/8/layout/chevron1"/>
    <dgm:cxn modelId="{0ADCC23F-FF67-42CE-BA57-FB2927C8DAFA}" type="presParOf" srcId="{4138D66E-7609-4AFC-89D8-350352B5A604}" destId="{F2727692-CC1B-4E69-9B43-BEF6C16BFFD8}" srcOrd="3" destOrd="0" presId="urn:microsoft.com/office/officeart/2005/8/layout/chevron1"/>
    <dgm:cxn modelId="{20D4225E-906C-4E25-8D18-EF4770B9CE2A}" type="presParOf" srcId="{4138D66E-7609-4AFC-89D8-350352B5A604}" destId="{1E0AD08E-63F9-450F-889A-1D8E6A0803F2}" srcOrd="4" destOrd="0" presId="urn:microsoft.com/office/officeart/2005/8/layout/chevron1"/>
    <dgm:cxn modelId="{0BBBF9E6-E6F1-474E-886D-3884E6836274}" type="presParOf" srcId="{4138D66E-7609-4AFC-89D8-350352B5A604}" destId="{80E631F5-9D40-4D7D-A6B6-BD4A737FDD22}" srcOrd="5" destOrd="0" presId="urn:microsoft.com/office/officeart/2005/8/layout/chevron1"/>
    <dgm:cxn modelId="{D7679AD4-21D2-46EC-9322-9F28F669D8E8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7140E95-B33D-4E78-849B-04EF7C048E5B}" type="presOf" srcId="{4885F4DF-0060-444E-A4F2-619F86522FBD}" destId="{6148B87C-E64C-4C43-B37F-9E3A5076D5EE}" srcOrd="0" destOrd="0" presId="urn:microsoft.com/office/officeart/2005/8/layout/chevron1"/>
    <dgm:cxn modelId="{E6066C19-94C7-43FE-B665-727BC54931D4}" type="presOf" srcId="{A3D5F0A7-E6BA-47E1-93DC-819B199F41AF}" destId="{4138D66E-7609-4AFC-89D8-350352B5A604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C4B1B742-4168-4121-92C0-56CB5283CDF4}" type="presOf" srcId="{F8DCBD60-778F-4700-8A74-0E88B35059B9}" destId="{1E0AD08E-63F9-450F-889A-1D8E6A0803F2}" srcOrd="0" destOrd="0" presId="urn:microsoft.com/office/officeart/2005/8/layout/chevron1"/>
    <dgm:cxn modelId="{0AA0B575-9A86-4E8B-9488-EBC67C9CF34F}" type="presOf" srcId="{F95188BC-0B65-4306-B4A7-FBE2469CDD4D}" destId="{A5DFD14F-61F3-45C4-A219-DFE568119900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C910DC5-9C30-4526-B201-F8C6B59FA6CE}" type="presParOf" srcId="{4138D66E-7609-4AFC-89D8-350352B5A604}" destId="{6148B87C-E64C-4C43-B37F-9E3A5076D5EE}" srcOrd="0" destOrd="0" presId="urn:microsoft.com/office/officeart/2005/8/layout/chevron1"/>
    <dgm:cxn modelId="{A86B59F6-5708-495B-8D5F-8D167842DD6A}" type="presParOf" srcId="{4138D66E-7609-4AFC-89D8-350352B5A604}" destId="{2FFD88A4-C520-4962-9C84-FAA658E0E4D8}" srcOrd="1" destOrd="0" presId="urn:microsoft.com/office/officeart/2005/8/layout/chevron1"/>
    <dgm:cxn modelId="{20E038F7-779B-4087-9763-2D24A8DB5A0D}" type="presParOf" srcId="{4138D66E-7609-4AFC-89D8-350352B5A604}" destId="{A5DFD14F-61F3-45C4-A219-DFE568119900}" srcOrd="2" destOrd="0" presId="urn:microsoft.com/office/officeart/2005/8/layout/chevron1"/>
    <dgm:cxn modelId="{262657DB-369B-444E-BBA5-4867EAFECDC8}" type="presParOf" srcId="{4138D66E-7609-4AFC-89D8-350352B5A604}" destId="{F2727692-CC1B-4E69-9B43-BEF6C16BFFD8}" srcOrd="3" destOrd="0" presId="urn:microsoft.com/office/officeart/2005/8/layout/chevron1"/>
    <dgm:cxn modelId="{63586603-0EF4-4F23-9F85-550343B71E1A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130E35A4-3552-4CC5-90CC-548DA47975E9}" type="presOf" srcId="{F8DCBD60-778F-4700-8A74-0E88B35059B9}" destId="{1E0AD08E-63F9-450F-889A-1D8E6A0803F2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541A976-363C-4625-820C-774099211FBB}" type="presOf" srcId="{A3D5F0A7-E6BA-47E1-93DC-819B199F41AF}" destId="{4138D66E-7609-4AFC-89D8-350352B5A604}" srcOrd="0" destOrd="0" presId="urn:microsoft.com/office/officeart/2005/8/layout/chevron1"/>
    <dgm:cxn modelId="{9C3612AF-3533-4F91-A98E-0CB5C1F66C55}" type="presOf" srcId="{F95188BC-0B65-4306-B4A7-FBE2469CDD4D}" destId="{A5DFD14F-61F3-45C4-A219-DFE568119900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E0B205D5-19B8-4A45-AF84-217FFF92A22B}" type="presOf" srcId="{4885F4DF-0060-444E-A4F2-619F86522FBD}" destId="{6148B87C-E64C-4C43-B37F-9E3A5076D5EE}" srcOrd="0" destOrd="0" presId="urn:microsoft.com/office/officeart/2005/8/layout/chevron1"/>
    <dgm:cxn modelId="{49048708-316D-4CD3-9106-D48852F0F74B}" type="presOf" srcId="{D23B3068-9B5B-49BC-B3D5-22DE72F1E79A}" destId="{ABB4D728-E6F7-4EF1-AC07-C02EDC113325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01611039-B7B5-4704-8DC6-416F9F3B5E55}" type="presParOf" srcId="{4138D66E-7609-4AFC-89D8-350352B5A604}" destId="{6148B87C-E64C-4C43-B37F-9E3A5076D5EE}" srcOrd="0" destOrd="0" presId="urn:microsoft.com/office/officeart/2005/8/layout/chevron1"/>
    <dgm:cxn modelId="{D4B9FF29-2805-4653-AC93-F1B6838E887E}" type="presParOf" srcId="{4138D66E-7609-4AFC-89D8-350352B5A604}" destId="{2FFD88A4-C520-4962-9C84-FAA658E0E4D8}" srcOrd="1" destOrd="0" presId="urn:microsoft.com/office/officeart/2005/8/layout/chevron1"/>
    <dgm:cxn modelId="{AD89C1FC-0A2B-4D33-9745-D67E36A6834C}" type="presParOf" srcId="{4138D66E-7609-4AFC-89D8-350352B5A604}" destId="{A5DFD14F-61F3-45C4-A219-DFE568119900}" srcOrd="2" destOrd="0" presId="urn:microsoft.com/office/officeart/2005/8/layout/chevron1"/>
    <dgm:cxn modelId="{8F3252A5-DD5C-422C-B01B-3E7306A429CD}" type="presParOf" srcId="{4138D66E-7609-4AFC-89D8-350352B5A604}" destId="{F2727692-CC1B-4E69-9B43-BEF6C16BFFD8}" srcOrd="3" destOrd="0" presId="urn:microsoft.com/office/officeart/2005/8/layout/chevron1"/>
    <dgm:cxn modelId="{DCB19338-5DB1-4B41-839E-84BF9E820D11}" type="presParOf" srcId="{4138D66E-7609-4AFC-89D8-350352B5A604}" destId="{1E0AD08E-63F9-450F-889A-1D8E6A0803F2}" srcOrd="4" destOrd="0" presId="urn:microsoft.com/office/officeart/2005/8/layout/chevron1"/>
    <dgm:cxn modelId="{34DE27CF-93DA-4A2B-8B56-FC4EA423F820}" type="presParOf" srcId="{4138D66E-7609-4AFC-89D8-350352B5A604}" destId="{80E631F5-9D40-4D7D-A6B6-BD4A737FDD22}" srcOrd="5" destOrd="0" presId="urn:microsoft.com/office/officeart/2005/8/layout/chevron1"/>
    <dgm:cxn modelId="{CE628863-4207-444F-9DEC-4470668E53A9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D0F62563-6F5B-4FDE-AE81-37AB9E0E1C07}" type="presOf" srcId="{A3D5F0A7-E6BA-47E1-93DC-819B199F41AF}" destId="{4138D66E-7609-4AFC-89D8-350352B5A604}" srcOrd="0" destOrd="0" presId="urn:microsoft.com/office/officeart/2005/8/layout/chevron1"/>
    <dgm:cxn modelId="{98EB8FC7-5162-48D2-957B-9A0B737D0101}" type="presOf" srcId="{F8DCBD60-778F-4700-8A74-0E88B35059B9}" destId="{1E0AD08E-63F9-450F-889A-1D8E6A0803F2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6D0004D6-6CDC-4152-9DB4-71270A044D1C}" type="presOf" srcId="{4885F4DF-0060-444E-A4F2-619F86522FBD}" destId="{6148B87C-E64C-4C43-B37F-9E3A5076D5EE}" srcOrd="0" destOrd="0" presId="urn:microsoft.com/office/officeart/2005/8/layout/chevron1"/>
    <dgm:cxn modelId="{CB88B196-08C2-4AD8-A9D2-E3E960ACE615}" type="presOf" srcId="{F95188BC-0B65-4306-B4A7-FBE2469CDD4D}" destId="{A5DFD14F-61F3-45C4-A219-DFE568119900}" srcOrd="0" destOrd="0" presId="urn:microsoft.com/office/officeart/2005/8/layout/chevron1"/>
    <dgm:cxn modelId="{DE004C63-AB07-458D-8E76-F341C8444BE3}" type="presParOf" srcId="{4138D66E-7609-4AFC-89D8-350352B5A604}" destId="{6148B87C-E64C-4C43-B37F-9E3A5076D5EE}" srcOrd="0" destOrd="0" presId="urn:microsoft.com/office/officeart/2005/8/layout/chevron1"/>
    <dgm:cxn modelId="{565AEA15-8B1B-4F85-8C48-D8B51B61E189}" type="presParOf" srcId="{4138D66E-7609-4AFC-89D8-350352B5A604}" destId="{2FFD88A4-C520-4962-9C84-FAA658E0E4D8}" srcOrd="1" destOrd="0" presId="urn:microsoft.com/office/officeart/2005/8/layout/chevron1"/>
    <dgm:cxn modelId="{1DF32560-E53D-45A0-B9F4-6464B950F823}" type="presParOf" srcId="{4138D66E-7609-4AFC-89D8-350352B5A604}" destId="{A5DFD14F-61F3-45C4-A219-DFE568119900}" srcOrd="2" destOrd="0" presId="urn:microsoft.com/office/officeart/2005/8/layout/chevron1"/>
    <dgm:cxn modelId="{1FE60AAA-DEDD-4D24-B20D-D9D9F7EC264E}" type="presParOf" srcId="{4138D66E-7609-4AFC-89D8-350352B5A604}" destId="{F2727692-CC1B-4E69-9B43-BEF6C16BFFD8}" srcOrd="3" destOrd="0" presId="urn:microsoft.com/office/officeart/2005/8/layout/chevron1"/>
    <dgm:cxn modelId="{2253C467-884C-43FA-8302-717F89E1656A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CBD447B-25DD-4129-BDB9-E7FA2322CA03}" type="presOf" srcId="{F8DCBD60-778F-4700-8A74-0E88B35059B9}" destId="{1E0AD08E-63F9-450F-889A-1D8E6A0803F2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D6EDC2A9-F6EB-4513-962A-A8DD9CD1DF6C}" type="presOf" srcId="{A3D5F0A7-E6BA-47E1-93DC-819B199F41AF}" destId="{4138D66E-7609-4AFC-89D8-350352B5A604}" srcOrd="0" destOrd="0" presId="urn:microsoft.com/office/officeart/2005/8/layout/chevron1"/>
    <dgm:cxn modelId="{1A695808-AA41-4A9E-A532-9FD0D460C7CE}" type="presOf" srcId="{F95188BC-0B65-4306-B4A7-FBE2469CDD4D}" destId="{A5DFD14F-61F3-45C4-A219-DFE568119900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1508898F-64D1-4A26-94AF-74539A32C90E}" type="presOf" srcId="{D23B3068-9B5B-49BC-B3D5-22DE72F1E79A}" destId="{ABB4D728-E6F7-4EF1-AC07-C02EDC113325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B9602107-19ED-48E1-828F-633ED5B36B3C}" type="presOf" srcId="{4885F4DF-0060-444E-A4F2-619F86522FBD}" destId="{6148B87C-E64C-4C43-B37F-9E3A5076D5EE}" srcOrd="0" destOrd="0" presId="urn:microsoft.com/office/officeart/2005/8/layout/chevron1"/>
    <dgm:cxn modelId="{A66D5673-ECB4-4D97-84C8-47ED3AB36907}" type="presParOf" srcId="{4138D66E-7609-4AFC-89D8-350352B5A604}" destId="{6148B87C-E64C-4C43-B37F-9E3A5076D5EE}" srcOrd="0" destOrd="0" presId="urn:microsoft.com/office/officeart/2005/8/layout/chevron1"/>
    <dgm:cxn modelId="{19425DC1-FD1B-401F-9307-83426694E5E3}" type="presParOf" srcId="{4138D66E-7609-4AFC-89D8-350352B5A604}" destId="{2FFD88A4-C520-4962-9C84-FAA658E0E4D8}" srcOrd="1" destOrd="0" presId="urn:microsoft.com/office/officeart/2005/8/layout/chevron1"/>
    <dgm:cxn modelId="{5B62F2C1-14AF-4FE1-AFD9-AC07DE29624F}" type="presParOf" srcId="{4138D66E-7609-4AFC-89D8-350352B5A604}" destId="{A5DFD14F-61F3-45C4-A219-DFE568119900}" srcOrd="2" destOrd="0" presId="urn:microsoft.com/office/officeart/2005/8/layout/chevron1"/>
    <dgm:cxn modelId="{41E70EF0-B9F9-4A7B-BE5F-E6AAFB33F022}" type="presParOf" srcId="{4138D66E-7609-4AFC-89D8-350352B5A604}" destId="{F2727692-CC1B-4E69-9B43-BEF6C16BFFD8}" srcOrd="3" destOrd="0" presId="urn:microsoft.com/office/officeart/2005/8/layout/chevron1"/>
    <dgm:cxn modelId="{3AC28B6E-B7D2-42A8-A3DF-A95CF042B701}" type="presParOf" srcId="{4138D66E-7609-4AFC-89D8-350352B5A604}" destId="{1E0AD08E-63F9-450F-889A-1D8E6A0803F2}" srcOrd="4" destOrd="0" presId="urn:microsoft.com/office/officeart/2005/8/layout/chevron1"/>
    <dgm:cxn modelId="{B99C1415-FBB0-4303-9BB4-F2E48F3EF4EC}" type="presParOf" srcId="{4138D66E-7609-4AFC-89D8-350352B5A604}" destId="{80E631F5-9D40-4D7D-A6B6-BD4A737FDD22}" srcOrd="5" destOrd="0" presId="urn:microsoft.com/office/officeart/2005/8/layout/chevron1"/>
    <dgm:cxn modelId="{50B8C44E-6691-470A-915A-0A51BF027552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C0863411-B1E0-48DD-9AE8-29EE609E904C}" type="presOf" srcId="{4885F4DF-0060-444E-A4F2-619F86522FBD}" destId="{6148B87C-E64C-4C43-B37F-9E3A5076D5EE}" srcOrd="0" destOrd="0" presId="urn:microsoft.com/office/officeart/2005/8/layout/chevron1"/>
    <dgm:cxn modelId="{DEDDF061-304E-4646-8342-5A79BEAFFD84}" type="presOf" srcId="{A3D5F0A7-E6BA-47E1-93DC-819B199F41AF}" destId="{4138D66E-7609-4AFC-89D8-350352B5A604}" srcOrd="0" destOrd="0" presId="urn:microsoft.com/office/officeart/2005/8/layout/chevron1"/>
    <dgm:cxn modelId="{A6F3528C-957F-4206-801E-5EDA934E468A}" type="presOf" srcId="{F95188BC-0B65-4306-B4A7-FBE2469CDD4D}" destId="{A5DFD14F-61F3-45C4-A219-DFE568119900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636B4950-DA9B-45ED-AFE5-2E92BA3DAADA}" type="presOf" srcId="{F8DCBD60-778F-4700-8A74-0E88B35059B9}" destId="{1E0AD08E-63F9-450F-889A-1D8E6A0803F2}" srcOrd="0" destOrd="0" presId="urn:microsoft.com/office/officeart/2005/8/layout/chevron1"/>
    <dgm:cxn modelId="{7A33BB73-D035-4383-8FDA-D81FBADD1279}" type="presParOf" srcId="{4138D66E-7609-4AFC-89D8-350352B5A604}" destId="{6148B87C-E64C-4C43-B37F-9E3A5076D5EE}" srcOrd="0" destOrd="0" presId="urn:microsoft.com/office/officeart/2005/8/layout/chevron1"/>
    <dgm:cxn modelId="{568E96BA-1344-4781-93CD-5C46941A606C}" type="presParOf" srcId="{4138D66E-7609-4AFC-89D8-350352B5A604}" destId="{2FFD88A4-C520-4962-9C84-FAA658E0E4D8}" srcOrd="1" destOrd="0" presId="urn:microsoft.com/office/officeart/2005/8/layout/chevron1"/>
    <dgm:cxn modelId="{E63D8528-968C-474A-8E8B-C17D04F86FE4}" type="presParOf" srcId="{4138D66E-7609-4AFC-89D8-350352B5A604}" destId="{A5DFD14F-61F3-45C4-A219-DFE568119900}" srcOrd="2" destOrd="0" presId="urn:microsoft.com/office/officeart/2005/8/layout/chevron1"/>
    <dgm:cxn modelId="{DDB9EA58-CEC5-4E9D-9D60-2DF4AD4540E5}" type="presParOf" srcId="{4138D66E-7609-4AFC-89D8-350352B5A604}" destId="{F2727692-CC1B-4E69-9B43-BEF6C16BFFD8}" srcOrd="3" destOrd="0" presId="urn:microsoft.com/office/officeart/2005/8/layout/chevron1"/>
    <dgm:cxn modelId="{EBF750C9-B34A-4F79-AB46-A198EFCEF7AB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654E78C-0948-4150-80A9-04A699AD977A}" type="presOf" srcId="{D23B3068-9B5B-49BC-B3D5-22DE72F1E79A}" destId="{ABB4D728-E6F7-4EF1-AC07-C02EDC113325}" srcOrd="0" destOrd="0" presId="urn:microsoft.com/office/officeart/2005/8/layout/chevron1"/>
    <dgm:cxn modelId="{D2B7FB19-9722-4BF2-81BB-8DE310DB6FCC}" type="presOf" srcId="{A3D5F0A7-E6BA-47E1-93DC-819B199F41AF}" destId="{4138D66E-7609-4AFC-89D8-350352B5A604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02B4DAF6-31C4-40E5-98B2-A0DA33ACC6F8}" type="presOf" srcId="{F8DCBD60-778F-4700-8A74-0E88B35059B9}" destId="{1E0AD08E-63F9-450F-889A-1D8E6A0803F2}" srcOrd="0" destOrd="0" presId="urn:microsoft.com/office/officeart/2005/8/layout/chevron1"/>
    <dgm:cxn modelId="{611B6430-42A5-46E1-9411-54A108B7744D}" type="presOf" srcId="{4885F4DF-0060-444E-A4F2-619F86522FBD}" destId="{6148B87C-E64C-4C43-B37F-9E3A5076D5EE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E4E56687-3C4E-439B-9605-DEEC2689A506}" type="presOf" srcId="{F95188BC-0B65-4306-B4A7-FBE2469CDD4D}" destId="{A5DFD14F-61F3-45C4-A219-DFE568119900}" srcOrd="0" destOrd="0" presId="urn:microsoft.com/office/officeart/2005/8/layout/chevron1"/>
    <dgm:cxn modelId="{078A2321-C61B-4DAE-83DB-4ED6351969B7}" type="presParOf" srcId="{4138D66E-7609-4AFC-89D8-350352B5A604}" destId="{6148B87C-E64C-4C43-B37F-9E3A5076D5EE}" srcOrd="0" destOrd="0" presId="urn:microsoft.com/office/officeart/2005/8/layout/chevron1"/>
    <dgm:cxn modelId="{9DCC79A6-EEFA-41AA-B178-66ED7B973CBD}" type="presParOf" srcId="{4138D66E-7609-4AFC-89D8-350352B5A604}" destId="{2FFD88A4-C520-4962-9C84-FAA658E0E4D8}" srcOrd="1" destOrd="0" presId="urn:microsoft.com/office/officeart/2005/8/layout/chevron1"/>
    <dgm:cxn modelId="{421A5EBB-16FF-4580-A370-B4841283B211}" type="presParOf" srcId="{4138D66E-7609-4AFC-89D8-350352B5A604}" destId="{A5DFD14F-61F3-45C4-A219-DFE568119900}" srcOrd="2" destOrd="0" presId="urn:microsoft.com/office/officeart/2005/8/layout/chevron1"/>
    <dgm:cxn modelId="{D86E994B-0B47-45F4-8FF6-340214B5829A}" type="presParOf" srcId="{4138D66E-7609-4AFC-89D8-350352B5A604}" destId="{F2727692-CC1B-4E69-9B43-BEF6C16BFFD8}" srcOrd="3" destOrd="0" presId="urn:microsoft.com/office/officeart/2005/8/layout/chevron1"/>
    <dgm:cxn modelId="{3B79CD40-7346-4FAC-987E-E932BB49803E}" type="presParOf" srcId="{4138D66E-7609-4AFC-89D8-350352B5A604}" destId="{1E0AD08E-63F9-450F-889A-1D8E6A0803F2}" srcOrd="4" destOrd="0" presId="urn:microsoft.com/office/officeart/2005/8/layout/chevron1"/>
    <dgm:cxn modelId="{9941C785-D9BB-4AC9-AB34-14E7AB3360F1}" type="presParOf" srcId="{4138D66E-7609-4AFC-89D8-350352B5A604}" destId="{80E631F5-9D40-4D7D-A6B6-BD4A737FDD22}" srcOrd="5" destOrd="0" presId="urn:microsoft.com/office/officeart/2005/8/layout/chevron1"/>
    <dgm:cxn modelId="{83B144ED-C6E4-4188-9FBB-2A574908BB69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6964E03B-EFF2-4B26-9DBA-3588115E4A4B}" type="presOf" srcId="{4885F4DF-0060-444E-A4F2-619F86522FBD}" destId="{6148B87C-E64C-4C43-B37F-9E3A5076D5EE}" srcOrd="0" destOrd="0" presId="urn:microsoft.com/office/officeart/2005/8/layout/chevron1"/>
    <dgm:cxn modelId="{94F845C8-8B19-4DC4-88F9-0119A85BC42F}" type="presOf" srcId="{F95188BC-0B65-4306-B4A7-FBE2469CDD4D}" destId="{A5DFD14F-61F3-45C4-A219-DFE568119900}" srcOrd="0" destOrd="0" presId="urn:microsoft.com/office/officeart/2005/8/layout/chevron1"/>
    <dgm:cxn modelId="{575B88A8-2CB5-4FF4-BDC9-80A3F14577E8}" type="presOf" srcId="{F8DCBD60-778F-4700-8A74-0E88B35059B9}" destId="{1E0AD08E-63F9-450F-889A-1D8E6A0803F2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4471638E-02F4-400A-A704-ECA3BC92E77D}" type="presOf" srcId="{A3D5F0A7-E6BA-47E1-93DC-819B199F41AF}" destId="{4138D66E-7609-4AFC-89D8-350352B5A604}" srcOrd="0" destOrd="0" presId="urn:microsoft.com/office/officeart/2005/8/layout/chevron1"/>
    <dgm:cxn modelId="{503EA3CC-CA23-422B-8949-87D32A00DE28}" type="presParOf" srcId="{4138D66E-7609-4AFC-89D8-350352B5A604}" destId="{6148B87C-E64C-4C43-B37F-9E3A5076D5EE}" srcOrd="0" destOrd="0" presId="urn:microsoft.com/office/officeart/2005/8/layout/chevron1"/>
    <dgm:cxn modelId="{8BD0CA5A-AF01-4A2A-BD07-71D861BE9F59}" type="presParOf" srcId="{4138D66E-7609-4AFC-89D8-350352B5A604}" destId="{2FFD88A4-C520-4962-9C84-FAA658E0E4D8}" srcOrd="1" destOrd="0" presId="urn:microsoft.com/office/officeart/2005/8/layout/chevron1"/>
    <dgm:cxn modelId="{4D2ED4AF-519F-4DC6-9E7C-7AD0D1A4579B}" type="presParOf" srcId="{4138D66E-7609-4AFC-89D8-350352B5A604}" destId="{A5DFD14F-61F3-45C4-A219-DFE568119900}" srcOrd="2" destOrd="0" presId="urn:microsoft.com/office/officeart/2005/8/layout/chevron1"/>
    <dgm:cxn modelId="{6CF776B7-1429-4C0C-890A-982C153ED9B9}" type="presParOf" srcId="{4138D66E-7609-4AFC-89D8-350352B5A604}" destId="{F2727692-CC1B-4E69-9B43-BEF6C16BFFD8}" srcOrd="3" destOrd="0" presId="urn:microsoft.com/office/officeart/2005/8/layout/chevron1"/>
    <dgm:cxn modelId="{B4780009-6734-45EB-9A0A-DBEC96C9C6DB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/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/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/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5AE978B-087A-45C0-B3F3-D19DAED47E03}" type="presOf" srcId="{A3D5F0A7-E6BA-47E1-93DC-819B199F41AF}" destId="{4138D66E-7609-4AFC-89D8-350352B5A604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FC821EAA-F675-4EC7-9ADB-E9F270FC2E31}" type="presOf" srcId="{4885F4DF-0060-444E-A4F2-619F86522FBD}" destId="{6148B87C-E64C-4C43-B37F-9E3A5076D5EE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182B3219-0ED6-4A26-AEDA-E93519612F0A}" type="presOf" srcId="{F8DCBD60-778F-4700-8A74-0E88B35059B9}" destId="{1E0AD08E-63F9-450F-889A-1D8E6A0803F2}" srcOrd="0" destOrd="0" presId="urn:microsoft.com/office/officeart/2005/8/layout/chevron1"/>
    <dgm:cxn modelId="{A686D017-183D-46BF-87AB-CA396590144D}" type="presOf" srcId="{F95188BC-0B65-4306-B4A7-FBE2469CDD4D}" destId="{A5DFD14F-61F3-45C4-A219-DFE568119900}" srcOrd="0" destOrd="0" presId="urn:microsoft.com/office/officeart/2005/8/layout/chevron1"/>
    <dgm:cxn modelId="{4F20EC27-5CE5-4763-81BE-C5A8FDC51D7B}" type="presParOf" srcId="{4138D66E-7609-4AFC-89D8-350352B5A604}" destId="{6148B87C-E64C-4C43-B37F-9E3A5076D5EE}" srcOrd="0" destOrd="0" presId="urn:microsoft.com/office/officeart/2005/8/layout/chevron1"/>
    <dgm:cxn modelId="{00EF4C5D-B274-4847-8DBC-FB489DA89EE6}" type="presParOf" srcId="{4138D66E-7609-4AFC-89D8-350352B5A604}" destId="{2FFD88A4-C520-4962-9C84-FAA658E0E4D8}" srcOrd="1" destOrd="0" presId="urn:microsoft.com/office/officeart/2005/8/layout/chevron1"/>
    <dgm:cxn modelId="{FF5F71B6-220F-4BE1-B82C-FBA4A0778C6C}" type="presParOf" srcId="{4138D66E-7609-4AFC-89D8-350352B5A604}" destId="{A5DFD14F-61F3-45C4-A219-DFE568119900}" srcOrd="2" destOrd="0" presId="urn:microsoft.com/office/officeart/2005/8/layout/chevron1"/>
    <dgm:cxn modelId="{821490B4-8F0D-428F-8B10-6921BB0C1F76}" type="presParOf" srcId="{4138D66E-7609-4AFC-89D8-350352B5A604}" destId="{F2727692-CC1B-4E69-9B43-BEF6C16BFFD8}" srcOrd="3" destOrd="0" presId="urn:microsoft.com/office/officeart/2005/8/layout/chevron1"/>
    <dgm:cxn modelId="{9DCA6094-BA55-492C-B11C-764BB99311F5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/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/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65D2FFE-764F-475D-9198-D0E3BF0DCFDF}" type="presOf" srcId="{A3D5F0A7-E6BA-47E1-93DC-819B199F41AF}" destId="{4138D66E-7609-4AFC-89D8-350352B5A604}" srcOrd="0" destOrd="0" presId="urn:microsoft.com/office/officeart/2005/8/layout/chevron1"/>
    <dgm:cxn modelId="{495D39BB-F83B-4909-956D-646281609306}" type="presOf" srcId="{F8DCBD60-778F-4700-8A74-0E88B35059B9}" destId="{1E0AD08E-63F9-450F-889A-1D8E6A0803F2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D558EEE3-95E5-4AC6-BB8F-96494C38DB00}" type="presOf" srcId="{F95188BC-0B65-4306-B4A7-FBE2469CDD4D}" destId="{A5DFD14F-61F3-45C4-A219-DFE568119900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FE29B5D8-704C-4B33-9A36-BD5BD88FB51B}" type="presOf" srcId="{4885F4DF-0060-444E-A4F2-619F86522FBD}" destId="{6148B87C-E64C-4C43-B37F-9E3A5076D5EE}" srcOrd="0" destOrd="0" presId="urn:microsoft.com/office/officeart/2005/8/layout/chevron1"/>
    <dgm:cxn modelId="{725D08DA-B274-4A2D-BE47-DE05F6587185}" type="presOf" srcId="{D23B3068-9B5B-49BC-B3D5-22DE72F1E79A}" destId="{ABB4D728-E6F7-4EF1-AC07-C02EDC113325}" srcOrd="0" destOrd="0" presId="urn:microsoft.com/office/officeart/2005/8/layout/chevron1"/>
    <dgm:cxn modelId="{DA012DB8-FC36-4A18-9A7D-630D97D1490C}" type="presParOf" srcId="{4138D66E-7609-4AFC-89D8-350352B5A604}" destId="{6148B87C-E64C-4C43-B37F-9E3A5076D5EE}" srcOrd="0" destOrd="0" presId="urn:microsoft.com/office/officeart/2005/8/layout/chevron1"/>
    <dgm:cxn modelId="{F347472F-B290-4029-96A1-F62F33034290}" type="presParOf" srcId="{4138D66E-7609-4AFC-89D8-350352B5A604}" destId="{2FFD88A4-C520-4962-9C84-FAA658E0E4D8}" srcOrd="1" destOrd="0" presId="urn:microsoft.com/office/officeart/2005/8/layout/chevron1"/>
    <dgm:cxn modelId="{421C46BA-1054-486A-BE4B-DEAA737D3672}" type="presParOf" srcId="{4138D66E-7609-4AFC-89D8-350352B5A604}" destId="{A5DFD14F-61F3-45C4-A219-DFE568119900}" srcOrd="2" destOrd="0" presId="urn:microsoft.com/office/officeart/2005/8/layout/chevron1"/>
    <dgm:cxn modelId="{7379F2D2-C48E-4D4A-BFE9-FC4DD10F7A96}" type="presParOf" srcId="{4138D66E-7609-4AFC-89D8-350352B5A604}" destId="{F2727692-CC1B-4E69-9B43-BEF6C16BFFD8}" srcOrd="3" destOrd="0" presId="urn:microsoft.com/office/officeart/2005/8/layout/chevron1"/>
    <dgm:cxn modelId="{9C99E997-9F35-48A5-BCBC-D47842804E1B}" type="presParOf" srcId="{4138D66E-7609-4AFC-89D8-350352B5A604}" destId="{1E0AD08E-63F9-450F-889A-1D8E6A0803F2}" srcOrd="4" destOrd="0" presId="urn:microsoft.com/office/officeart/2005/8/layout/chevron1"/>
    <dgm:cxn modelId="{093044D6-4A81-438C-951E-3C8BD3B00097}" type="presParOf" srcId="{4138D66E-7609-4AFC-89D8-350352B5A604}" destId="{80E631F5-9D40-4D7D-A6B6-BD4A737FDD22}" srcOrd="5" destOrd="0" presId="urn:microsoft.com/office/officeart/2005/8/layout/chevron1"/>
    <dgm:cxn modelId="{0AB3CEA6-D9A5-4EE7-8EB9-62A2E1F17890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29ADC6A-AD35-4C19-A57F-9CFC55049204}" type="presOf" srcId="{F95188BC-0B65-4306-B4A7-FBE2469CDD4D}" destId="{A5DFD14F-61F3-45C4-A219-DFE568119900}" srcOrd="0" destOrd="0" presId="urn:microsoft.com/office/officeart/2005/8/layout/chevron1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9FF22A9B-B0FB-4EC5-8664-3E8C8985EEE0}" type="presOf" srcId="{4885F4DF-0060-444E-A4F2-619F86522FBD}" destId="{6148B87C-E64C-4C43-B37F-9E3A5076D5EE}" srcOrd="0" destOrd="0" presId="urn:microsoft.com/office/officeart/2005/8/layout/chevron1"/>
    <dgm:cxn modelId="{294245D1-727E-4B27-9D05-3A857C52C7B5}" type="presOf" srcId="{A3D5F0A7-E6BA-47E1-93DC-819B199F41AF}" destId="{4138D66E-7609-4AFC-89D8-350352B5A604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5D566B1B-03F0-4CD3-893B-9C07815290E4}" type="presOf" srcId="{F8DCBD60-778F-4700-8A74-0E88B35059B9}" destId="{1E0AD08E-63F9-450F-889A-1D8E6A0803F2}" srcOrd="0" destOrd="0" presId="urn:microsoft.com/office/officeart/2005/8/layout/chevron1"/>
    <dgm:cxn modelId="{F9549311-177C-4874-92EE-05EF2C0A76CC}" type="presParOf" srcId="{4138D66E-7609-4AFC-89D8-350352B5A604}" destId="{6148B87C-E64C-4C43-B37F-9E3A5076D5EE}" srcOrd="0" destOrd="0" presId="urn:microsoft.com/office/officeart/2005/8/layout/chevron1"/>
    <dgm:cxn modelId="{9D70426F-CB43-43EA-9891-9AB365F4A223}" type="presParOf" srcId="{4138D66E-7609-4AFC-89D8-350352B5A604}" destId="{2FFD88A4-C520-4962-9C84-FAA658E0E4D8}" srcOrd="1" destOrd="0" presId="urn:microsoft.com/office/officeart/2005/8/layout/chevron1"/>
    <dgm:cxn modelId="{7EF8BAA7-1E45-46C9-9211-C096607DA6D0}" type="presParOf" srcId="{4138D66E-7609-4AFC-89D8-350352B5A604}" destId="{A5DFD14F-61F3-45C4-A219-DFE568119900}" srcOrd="2" destOrd="0" presId="urn:microsoft.com/office/officeart/2005/8/layout/chevron1"/>
    <dgm:cxn modelId="{C795C2AC-4650-4F88-A92F-D5BF76C11C4D}" type="presParOf" srcId="{4138D66E-7609-4AFC-89D8-350352B5A604}" destId="{F2727692-CC1B-4E69-9B43-BEF6C16BFFD8}" srcOrd="3" destOrd="0" presId="urn:microsoft.com/office/officeart/2005/8/layout/chevron1"/>
    <dgm:cxn modelId="{617F725A-1032-4C4C-8DB0-1712C0EDFAB6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4010FDB-F957-4BDB-9217-FB3E5E386D6F}" type="presOf" srcId="{F95188BC-0B65-4306-B4A7-FBE2469CDD4D}" destId="{A5DFD14F-61F3-45C4-A219-DFE568119900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5E4D54F9-BDBC-4A29-BA87-DCC815F5E01E}" type="presOf" srcId="{F8DCBD60-778F-4700-8A74-0E88B35059B9}" destId="{1E0AD08E-63F9-450F-889A-1D8E6A0803F2}" srcOrd="0" destOrd="0" presId="urn:microsoft.com/office/officeart/2005/8/layout/chevron1"/>
    <dgm:cxn modelId="{DD51BA78-7D8D-4350-95A5-9B16B97D5DD0}" type="presOf" srcId="{D23B3068-9B5B-49BC-B3D5-22DE72F1E79A}" destId="{ABB4D728-E6F7-4EF1-AC07-C02EDC113325}" srcOrd="0" destOrd="0" presId="urn:microsoft.com/office/officeart/2005/8/layout/chevron1"/>
    <dgm:cxn modelId="{90ACE88E-1896-4272-A8EF-6AA46FD49A4F}" type="presOf" srcId="{4885F4DF-0060-444E-A4F2-619F86522FBD}" destId="{6148B87C-E64C-4C43-B37F-9E3A5076D5EE}" srcOrd="0" destOrd="0" presId="urn:microsoft.com/office/officeart/2005/8/layout/chevron1"/>
    <dgm:cxn modelId="{AC158E6E-4C85-4876-878A-441718D0ABF6}" type="presOf" srcId="{A3D5F0A7-E6BA-47E1-93DC-819B199F41AF}" destId="{4138D66E-7609-4AFC-89D8-350352B5A604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AC5C089D-8201-461A-BA05-A239093CD3FB}" type="presParOf" srcId="{4138D66E-7609-4AFC-89D8-350352B5A604}" destId="{6148B87C-E64C-4C43-B37F-9E3A5076D5EE}" srcOrd="0" destOrd="0" presId="urn:microsoft.com/office/officeart/2005/8/layout/chevron1"/>
    <dgm:cxn modelId="{920E0136-4CFD-4004-9DD6-A6259B1BA467}" type="presParOf" srcId="{4138D66E-7609-4AFC-89D8-350352B5A604}" destId="{2FFD88A4-C520-4962-9C84-FAA658E0E4D8}" srcOrd="1" destOrd="0" presId="urn:microsoft.com/office/officeart/2005/8/layout/chevron1"/>
    <dgm:cxn modelId="{6F0727B3-F2AB-4079-8CD4-6E3F21293A38}" type="presParOf" srcId="{4138D66E-7609-4AFC-89D8-350352B5A604}" destId="{A5DFD14F-61F3-45C4-A219-DFE568119900}" srcOrd="2" destOrd="0" presId="urn:microsoft.com/office/officeart/2005/8/layout/chevron1"/>
    <dgm:cxn modelId="{9FEC30DF-7560-4B0F-802E-189BAED22EA7}" type="presParOf" srcId="{4138D66E-7609-4AFC-89D8-350352B5A604}" destId="{F2727692-CC1B-4E69-9B43-BEF6C16BFFD8}" srcOrd="3" destOrd="0" presId="urn:microsoft.com/office/officeart/2005/8/layout/chevron1"/>
    <dgm:cxn modelId="{2CC22321-265B-41C7-8564-FB1B1A10A8ED}" type="presParOf" srcId="{4138D66E-7609-4AFC-89D8-350352B5A604}" destId="{1E0AD08E-63F9-450F-889A-1D8E6A0803F2}" srcOrd="4" destOrd="0" presId="urn:microsoft.com/office/officeart/2005/8/layout/chevron1"/>
    <dgm:cxn modelId="{24CE46C4-2B71-42C3-A143-36E468921793}" type="presParOf" srcId="{4138D66E-7609-4AFC-89D8-350352B5A604}" destId="{80E631F5-9D40-4D7D-A6B6-BD4A737FDD22}" srcOrd="5" destOrd="0" presId="urn:microsoft.com/office/officeart/2005/8/layout/chevron1"/>
    <dgm:cxn modelId="{41850132-3751-4C40-87A8-87BD6068B491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1CD5DD68-DD4F-4DD1-BF62-3ADF7E478AA4}" type="presOf" srcId="{F95188BC-0B65-4306-B4A7-FBE2469CDD4D}" destId="{A5DFD14F-61F3-45C4-A219-DFE568119900}" srcOrd="0" destOrd="0" presId="urn:microsoft.com/office/officeart/2005/8/layout/chevron1"/>
    <dgm:cxn modelId="{2FFCB2DA-4582-47E7-A100-5CE1889E4C28}" type="presOf" srcId="{A3D5F0A7-E6BA-47E1-93DC-819B199F41AF}" destId="{4138D66E-7609-4AFC-89D8-350352B5A604}" srcOrd="0" destOrd="0" presId="urn:microsoft.com/office/officeart/2005/8/layout/chevron1"/>
    <dgm:cxn modelId="{3BB84FAB-CD5E-4178-8180-20B38ABFDBE0}" type="presOf" srcId="{4885F4DF-0060-444E-A4F2-619F86522FBD}" destId="{6148B87C-E64C-4C43-B37F-9E3A5076D5EE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744965B8-0612-4EF0-9D76-E518FF890A9B}" type="presOf" srcId="{F8DCBD60-778F-4700-8A74-0E88B35059B9}" destId="{1E0AD08E-63F9-450F-889A-1D8E6A0803F2}" srcOrd="0" destOrd="0" presId="urn:microsoft.com/office/officeart/2005/8/layout/chevron1"/>
    <dgm:cxn modelId="{19D255ED-9E45-4650-A31A-18EDC16F7746}" type="presParOf" srcId="{4138D66E-7609-4AFC-89D8-350352B5A604}" destId="{6148B87C-E64C-4C43-B37F-9E3A5076D5EE}" srcOrd="0" destOrd="0" presId="urn:microsoft.com/office/officeart/2005/8/layout/chevron1"/>
    <dgm:cxn modelId="{D2B188DF-0B1D-4E91-8C31-1B4F51162979}" type="presParOf" srcId="{4138D66E-7609-4AFC-89D8-350352B5A604}" destId="{2FFD88A4-C520-4962-9C84-FAA658E0E4D8}" srcOrd="1" destOrd="0" presId="urn:microsoft.com/office/officeart/2005/8/layout/chevron1"/>
    <dgm:cxn modelId="{B585A565-AF48-4134-8032-1FE5AEBC598C}" type="presParOf" srcId="{4138D66E-7609-4AFC-89D8-350352B5A604}" destId="{A5DFD14F-61F3-45C4-A219-DFE568119900}" srcOrd="2" destOrd="0" presId="urn:microsoft.com/office/officeart/2005/8/layout/chevron1"/>
    <dgm:cxn modelId="{EA231441-2BEA-4935-89BB-C036BFD2CD4C}" type="presParOf" srcId="{4138D66E-7609-4AFC-89D8-350352B5A604}" destId="{F2727692-CC1B-4E69-9B43-BEF6C16BFFD8}" srcOrd="3" destOrd="0" presId="urn:microsoft.com/office/officeart/2005/8/layout/chevron1"/>
    <dgm:cxn modelId="{9D9E1B62-69A4-49FC-80CC-AD5001C13743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accent1"/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77649884-08B3-451B-A220-5CF3DA5EBD57}" type="presOf" srcId="{F95188BC-0B65-4306-B4A7-FBE2469CDD4D}" destId="{A5DFD14F-61F3-45C4-A219-DFE568119900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F72F3DD1-4D70-4A1A-AB67-FADA0E6B6DC9}" type="presOf" srcId="{4885F4DF-0060-444E-A4F2-619F86522FBD}" destId="{6148B87C-E64C-4C43-B37F-9E3A5076D5EE}" srcOrd="0" destOrd="0" presId="urn:microsoft.com/office/officeart/2005/8/layout/chevron1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3F7ACDED-6D47-4391-A2C6-489FC35FE386}" type="presOf" srcId="{F8DCBD60-778F-4700-8A74-0E88B35059B9}" destId="{1E0AD08E-63F9-450F-889A-1D8E6A0803F2}" srcOrd="0" destOrd="0" presId="urn:microsoft.com/office/officeart/2005/8/layout/chevron1"/>
    <dgm:cxn modelId="{3C7CA427-2384-4AE7-8108-4607AE6F09AD}" type="presOf" srcId="{D23B3068-9B5B-49BC-B3D5-22DE72F1E79A}" destId="{ABB4D728-E6F7-4EF1-AC07-C02EDC113325}" srcOrd="0" destOrd="0" presId="urn:microsoft.com/office/officeart/2005/8/layout/chevron1"/>
    <dgm:cxn modelId="{93BDFA33-A090-42A3-9203-0F258354858C}" type="presOf" srcId="{A3D5F0A7-E6BA-47E1-93DC-819B199F41AF}" destId="{4138D66E-7609-4AFC-89D8-350352B5A604}" srcOrd="0" destOrd="0" presId="urn:microsoft.com/office/officeart/2005/8/layout/chevron1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67C45D08-B523-43F2-A1D8-B917EB110112}" type="presParOf" srcId="{4138D66E-7609-4AFC-89D8-350352B5A604}" destId="{6148B87C-E64C-4C43-B37F-9E3A5076D5EE}" srcOrd="0" destOrd="0" presId="urn:microsoft.com/office/officeart/2005/8/layout/chevron1"/>
    <dgm:cxn modelId="{7FA77365-9D5A-444E-AD91-B12688C8660D}" type="presParOf" srcId="{4138D66E-7609-4AFC-89D8-350352B5A604}" destId="{2FFD88A4-C520-4962-9C84-FAA658E0E4D8}" srcOrd="1" destOrd="0" presId="urn:microsoft.com/office/officeart/2005/8/layout/chevron1"/>
    <dgm:cxn modelId="{F03F5402-7F24-4C09-A9C8-C29AF5CC7F2C}" type="presParOf" srcId="{4138D66E-7609-4AFC-89D8-350352B5A604}" destId="{A5DFD14F-61F3-45C4-A219-DFE568119900}" srcOrd="2" destOrd="0" presId="urn:microsoft.com/office/officeart/2005/8/layout/chevron1"/>
    <dgm:cxn modelId="{8AFDB4AD-D6BA-48F5-9F98-58F373AD5FF4}" type="presParOf" srcId="{4138D66E-7609-4AFC-89D8-350352B5A604}" destId="{F2727692-CC1B-4E69-9B43-BEF6C16BFFD8}" srcOrd="3" destOrd="0" presId="urn:microsoft.com/office/officeart/2005/8/layout/chevron1"/>
    <dgm:cxn modelId="{59CB973C-637F-4C76-AE9B-13DC0A6E5813}" type="presParOf" srcId="{4138D66E-7609-4AFC-89D8-350352B5A604}" destId="{1E0AD08E-63F9-450F-889A-1D8E6A0803F2}" srcOrd="4" destOrd="0" presId="urn:microsoft.com/office/officeart/2005/8/layout/chevron1"/>
    <dgm:cxn modelId="{657CD8C1-C0B3-40F9-A333-FF19512464FC}" type="presParOf" srcId="{4138D66E-7609-4AFC-89D8-350352B5A604}" destId="{80E631F5-9D40-4D7D-A6B6-BD4A737FDD22}" srcOrd="5" destOrd="0" presId="urn:microsoft.com/office/officeart/2005/8/layout/chevron1"/>
    <dgm:cxn modelId="{EF8A6726-52A9-4711-827E-51BE65F2EA22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rücksichtigung der Resultate medizinischer Untersuchungen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efinition und Prüfung der nötigen  Schutz-maßnahm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Dokumentation der Gefährdungs-</a:t>
          </a:r>
          <a:r>
            <a:rPr lang="de-DE" dirty="0" err="1" smtClean="0"/>
            <a:t>beurteilung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988E3D5-6800-4CD1-A8D3-7B01F29965E5}" type="presOf" srcId="{F95188BC-0B65-4306-B4A7-FBE2469CDD4D}" destId="{A5DFD14F-61F3-45C4-A219-DFE568119900}" srcOrd="0" destOrd="0" presId="urn:microsoft.com/office/officeart/2005/8/layout/chevron1"/>
    <dgm:cxn modelId="{82B4B6DC-9BD4-41AC-852D-55655793A91A}" type="presOf" srcId="{F8DCBD60-778F-4700-8A74-0E88B35059B9}" destId="{1E0AD08E-63F9-450F-889A-1D8E6A0803F2}" srcOrd="0" destOrd="0" presId="urn:microsoft.com/office/officeart/2005/8/layout/chevron1"/>
    <dgm:cxn modelId="{D84DFA37-F468-415B-AF0C-B23F4C733923}" type="presOf" srcId="{4885F4DF-0060-444E-A4F2-619F86522FBD}" destId="{6148B87C-E64C-4C43-B37F-9E3A5076D5EE}" srcOrd="0" destOrd="0" presId="urn:microsoft.com/office/officeart/2005/8/layout/chevron1"/>
    <dgm:cxn modelId="{E665B37B-1D8C-4E30-88E2-AC89A2B50797}" type="presOf" srcId="{A3D5F0A7-E6BA-47E1-93DC-819B199F41AF}" destId="{4138D66E-7609-4AFC-89D8-350352B5A604}" srcOrd="0" destOrd="0" presId="urn:microsoft.com/office/officeart/2005/8/layout/chevron1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C88FA539-B78A-4A7E-8068-17E64D36FCDE}" type="presParOf" srcId="{4138D66E-7609-4AFC-89D8-350352B5A604}" destId="{6148B87C-E64C-4C43-B37F-9E3A5076D5EE}" srcOrd="0" destOrd="0" presId="urn:microsoft.com/office/officeart/2005/8/layout/chevron1"/>
    <dgm:cxn modelId="{44CC7AED-D30F-4907-BF81-ED25D4F97A06}" type="presParOf" srcId="{4138D66E-7609-4AFC-89D8-350352B5A604}" destId="{2FFD88A4-C520-4962-9C84-FAA658E0E4D8}" srcOrd="1" destOrd="0" presId="urn:microsoft.com/office/officeart/2005/8/layout/chevron1"/>
    <dgm:cxn modelId="{CA2EED20-39FA-4E61-80A0-CF4D6DAB0978}" type="presParOf" srcId="{4138D66E-7609-4AFC-89D8-350352B5A604}" destId="{A5DFD14F-61F3-45C4-A219-DFE568119900}" srcOrd="2" destOrd="0" presId="urn:microsoft.com/office/officeart/2005/8/layout/chevron1"/>
    <dgm:cxn modelId="{2F140ECA-80FB-432C-9627-DEFFA8C2CD79}" type="presParOf" srcId="{4138D66E-7609-4AFC-89D8-350352B5A604}" destId="{F2727692-CC1B-4E69-9B43-BEF6C16BFFD8}" srcOrd="3" destOrd="0" presId="urn:microsoft.com/office/officeart/2005/8/layout/chevron1"/>
    <dgm:cxn modelId="{59618219-7BA3-4D42-B149-30DD149F9718}" type="presParOf" srcId="{4138D66E-7609-4AFC-89D8-350352B5A604}" destId="{1E0AD08E-63F9-450F-889A-1D8E6A0803F2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A3D5F0A7-E6BA-47E1-93DC-819B199F41A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885F4DF-0060-444E-A4F2-619F86522FB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Liste der Gefahrstoffe (SDB)</a:t>
          </a:r>
          <a:endParaRPr lang="de-DE" dirty="0"/>
        </a:p>
      </dgm:t>
    </dgm:pt>
    <dgm:pt modelId="{09EA0A14-CD82-4636-9002-1D4996561BA1}" type="parTrans" cxnId="{9058BE51-860E-44DE-9032-091A28F6D54A}">
      <dgm:prSet/>
      <dgm:spPr/>
      <dgm:t>
        <a:bodyPr/>
        <a:lstStyle/>
        <a:p>
          <a:endParaRPr lang="de-DE"/>
        </a:p>
      </dgm:t>
    </dgm:pt>
    <dgm:pt modelId="{3DE6EA8C-D08F-443F-A8CB-00F3E4E1B837}" type="sibTrans" cxnId="{9058BE51-860E-44DE-9032-091A28F6D54A}">
      <dgm:prSet/>
      <dgm:spPr/>
      <dgm:t>
        <a:bodyPr/>
        <a:lstStyle/>
        <a:p>
          <a:endParaRPr lang="de-DE"/>
        </a:p>
      </dgm:t>
    </dgm:pt>
    <dgm:pt modelId="{F95188BC-0B65-4306-B4A7-FBE2469CDD4D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gefährlichen Eigenschaften</a:t>
          </a:r>
          <a:endParaRPr lang="de-DE" dirty="0"/>
        </a:p>
      </dgm:t>
    </dgm:pt>
    <dgm:pt modelId="{C0A128BE-337D-4A16-A0EF-44B15739A0B8}" type="parTrans" cxnId="{72C7B206-C744-4217-825C-D717631C27C2}">
      <dgm:prSet/>
      <dgm:spPr/>
      <dgm:t>
        <a:bodyPr/>
        <a:lstStyle/>
        <a:p>
          <a:endParaRPr lang="de-DE"/>
        </a:p>
      </dgm:t>
    </dgm:pt>
    <dgm:pt modelId="{511BC232-CB08-4643-BCA0-A9363638C764}" type="sibTrans" cxnId="{72C7B206-C744-4217-825C-D717631C27C2}">
      <dgm:prSet/>
      <dgm:spPr/>
      <dgm:t>
        <a:bodyPr/>
        <a:lstStyle/>
        <a:p>
          <a:endParaRPr lang="de-DE"/>
        </a:p>
      </dgm:t>
    </dgm:pt>
    <dgm:pt modelId="{F8DCBD60-778F-4700-8A74-0E88B35059B9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Substitution möglich? Dokumentation!</a:t>
          </a:r>
          <a:endParaRPr lang="de-DE" dirty="0"/>
        </a:p>
      </dgm:t>
    </dgm:pt>
    <dgm:pt modelId="{337848D8-AD4E-43CF-8CE1-92ED3EEBE043}" type="parTrans" cxnId="{F06031A9-586E-4339-B251-B3A0C450BBE4}">
      <dgm:prSet/>
      <dgm:spPr/>
      <dgm:t>
        <a:bodyPr/>
        <a:lstStyle/>
        <a:p>
          <a:endParaRPr lang="de-DE"/>
        </a:p>
      </dgm:t>
    </dgm:pt>
    <dgm:pt modelId="{AAC24227-5BF8-4389-9F6D-9EE74BA29392}" type="sibTrans" cxnId="{F06031A9-586E-4339-B251-B3A0C450BBE4}">
      <dgm:prSet/>
      <dgm:spPr/>
      <dgm:t>
        <a:bodyPr/>
        <a:lstStyle/>
        <a:p>
          <a:endParaRPr lang="de-DE"/>
        </a:p>
      </dgm:t>
    </dgm:pt>
    <dgm:pt modelId="{D23B3068-9B5B-49BC-B3D5-22DE72F1E79A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 smtClean="0"/>
            <a:t>Beurteilung der möglichen Risiken durch Gefahrstoffe</a:t>
          </a:r>
          <a:endParaRPr lang="de-DE" dirty="0"/>
        </a:p>
      </dgm:t>
    </dgm:pt>
    <dgm:pt modelId="{695F44E4-C745-4960-8D4E-DB9D07A32F98}" type="parTrans" cxnId="{B29C198B-7122-4E30-A2C4-B992C0009D8F}">
      <dgm:prSet/>
      <dgm:spPr/>
      <dgm:t>
        <a:bodyPr/>
        <a:lstStyle/>
        <a:p>
          <a:endParaRPr lang="de-DE"/>
        </a:p>
      </dgm:t>
    </dgm:pt>
    <dgm:pt modelId="{B6070C57-6F74-4B52-968A-B7B83DBECA62}" type="sibTrans" cxnId="{B29C198B-7122-4E30-A2C4-B992C0009D8F}">
      <dgm:prSet/>
      <dgm:spPr/>
      <dgm:t>
        <a:bodyPr/>
        <a:lstStyle/>
        <a:p>
          <a:endParaRPr lang="de-DE"/>
        </a:p>
      </dgm:t>
    </dgm:pt>
    <dgm:pt modelId="{4138D66E-7609-4AFC-89D8-350352B5A604}" type="pres">
      <dgm:prSet presAssocID="{A3D5F0A7-E6BA-47E1-93DC-819B199F41AF}" presName="Name0" presStyleCnt="0">
        <dgm:presLayoutVars>
          <dgm:dir/>
          <dgm:animLvl val="lvl"/>
          <dgm:resizeHandles val="exact"/>
        </dgm:presLayoutVars>
      </dgm:prSet>
      <dgm:spPr/>
    </dgm:pt>
    <dgm:pt modelId="{6148B87C-E64C-4C43-B37F-9E3A5076D5EE}" type="pres">
      <dgm:prSet presAssocID="{4885F4DF-0060-444E-A4F2-619F86522FB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FFD88A4-C520-4962-9C84-FAA658E0E4D8}" type="pres">
      <dgm:prSet presAssocID="{3DE6EA8C-D08F-443F-A8CB-00F3E4E1B837}" presName="parTxOnlySpace" presStyleCnt="0"/>
      <dgm:spPr/>
    </dgm:pt>
    <dgm:pt modelId="{A5DFD14F-61F3-45C4-A219-DFE568119900}" type="pres">
      <dgm:prSet presAssocID="{F95188BC-0B65-4306-B4A7-FBE2469CDD4D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727692-CC1B-4E69-9B43-BEF6C16BFFD8}" type="pres">
      <dgm:prSet presAssocID="{511BC232-CB08-4643-BCA0-A9363638C764}" presName="parTxOnlySpace" presStyleCnt="0"/>
      <dgm:spPr/>
    </dgm:pt>
    <dgm:pt modelId="{1E0AD08E-63F9-450F-889A-1D8E6A0803F2}" type="pres">
      <dgm:prSet presAssocID="{F8DCBD60-778F-4700-8A74-0E88B35059B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E631F5-9D40-4D7D-A6B6-BD4A737FDD22}" type="pres">
      <dgm:prSet presAssocID="{AAC24227-5BF8-4389-9F6D-9EE74BA29392}" presName="parTxOnlySpace" presStyleCnt="0"/>
      <dgm:spPr/>
    </dgm:pt>
    <dgm:pt modelId="{ABB4D728-E6F7-4EF1-AC07-C02EDC113325}" type="pres">
      <dgm:prSet presAssocID="{D23B3068-9B5B-49BC-B3D5-22DE72F1E79A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058BE51-860E-44DE-9032-091A28F6D54A}" srcId="{A3D5F0A7-E6BA-47E1-93DC-819B199F41AF}" destId="{4885F4DF-0060-444E-A4F2-619F86522FBD}" srcOrd="0" destOrd="0" parTransId="{09EA0A14-CD82-4636-9002-1D4996561BA1}" sibTransId="{3DE6EA8C-D08F-443F-A8CB-00F3E4E1B837}"/>
    <dgm:cxn modelId="{F06031A9-586E-4339-B251-B3A0C450BBE4}" srcId="{A3D5F0A7-E6BA-47E1-93DC-819B199F41AF}" destId="{F8DCBD60-778F-4700-8A74-0E88B35059B9}" srcOrd="2" destOrd="0" parTransId="{337848D8-AD4E-43CF-8CE1-92ED3EEBE043}" sibTransId="{AAC24227-5BF8-4389-9F6D-9EE74BA29392}"/>
    <dgm:cxn modelId="{72C7B206-C744-4217-825C-D717631C27C2}" srcId="{A3D5F0A7-E6BA-47E1-93DC-819B199F41AF}" destId="{F95188BC-0B65-4306-B4A7-FBE2469CDD4D}" srcOrd="1" destOrd="0" parTransId="{C0A128BE-337D-4A16-A0EF-44B15739A0B8}" sibTransId="{511BC232-CB08-4643-BCA0-A9363638C764}"/>
    <dgm:cxn modelId="{148E507D-BC2C-4042-AE11-936F1B1CEF56}" type="presOf" srcId="{D23B3068-9B5B-49BC-B3D5-22DE72F1E79A}" destId="{ABB4D728-E6F7-4EF1-AC07-C02EDC113325}" srcOrd="0" destOrd="0" presId="urn:microsoft.com/office/officeart/2005/8/layout/chevron1"/>
    <dgm:cxn modelId="{499CA561-DE22-4860-8B27-CA94EE9CCD10}" type="presOf" srcId="{4885F4DF-0060-444E-A4F2-619F86522FBD}" destId="{6148B87C-E64C-4C43-B37F-9E3A5076D5EE}" srcOrd="0" destOrd="0" presId="urn:microsoft.com/office/officeart/2005/8/layout/chevron1"/>
    <dgm:cxn modelId="{B29C198B-7122-4E30-A2C4-B992C0009D8F}" srcId="{A3D5F0A7-E6BA-47E1-93DC-819B199F41AF}" destId="{D23B3068-9B5B-49BC-B3D5-22DE72F1E79A}" srcOrd="3" destOrd="0" parTransId="{695F44E4-C745-4960-8D4E-DB9D07A32F98}" sibTransId="{B6070C57-6F74-4B52-968A-B7B83DBECA62}"/>
    <dgm:cxn modelId="{6577D029-9463-479F-B46C-8F68CBD73535}" type="presOf" srcId="{F95188BC-0B65-4306-B4A7-FBE2469CDD4D}" destId="{A5DFD14F-61F3-45C4-A219-DFE568119900}" srcOrd="0" destOrd="0" presId="urn:microsoft.com/office/officeart/2005/8/layout/chevron1"/>
    <dgm:cxn modelId="{8C117E44-95F4-42F7-9DB1-D0CB6D3B3B48}" type="presOf" srcId="{A3D5F0A7-E6BA-47E1-93DC-819B199F41AF}" destId="{4138D66E-7609-4AFC-89D8-350352B5A604}" srcOrd="0" destOrd="0" presId="urn:microsoft.com/office/officeart/2005/8/layout/chevron1"/>
    <dgm:cxn modelId="{BE310E3A-5F8F-4E48-978E-8CA5D5081A53}" type="presOf" srcId="{F8DCBD60-778F-4700-8A74-0E88B35059B9}" destId="{1E0AD08E-63F9-450F-889A-1D8E6A0803F2}" srcOrd="0" destOrd="0" presId="urn:microsoft.com/office/officeart/2005/8/layout/chevron1"/>
    <dgm:cxn modelId="{22C2296F-6626-4059-A9F1-EB64F58B95AC}" type="presParOf" srcId="{4138D66E-7609-4AFC-89D8-350352B5A604}" destId="{6148B87C-E64C-4C43-B37F-9E3A5076D5EE}" srcOrd="0" destOrd="0" presId="urn:microsoft.com/office/officeart/2005/8/layout/chevron1"/>
    <dgm:cxn modelId="{8C7C2D07-5998-4203-8820-27FB1503D16F}" type="presParOf" srcId="{4138D66E-7609-4AFC-89D8-350352B5A604}" destId="{2FFD88A4-C520-4962-9C84-FAA658E0E4D8}" srcOrd="1" destOrd="0" presId="urn:microsoft.com/office/officeart/2005/8/layout/chevron1"/>
    <dgm:cxn modelId="{BFD048C4-E031-45B5-9F50-647D1A26EBB9}" type="presParOf" srcId="{4138D66E-7609-4AFC-89D8-350352B5A604}" destId="{A5DFD14F-61F3-45C4-A219-DFE568119900}" srcOrd="2" destOrd="0" presId="urn:microsoft.com/office/officeart/2005/8/layout/chevron1"/>
    <dgm:cxn modelId="{F7EAFC1B-399F-4504-91EB-DF71BEB6E2A8}" type="presParOf" srcId="{4138D66E-7609-4AFC-89D8-350352B5A604}" destId="{F2727692-CC1B-4E69-9B43-BEF6C16BFFD8}" srcOrd="3" destOrd="0" presId="urn:microsoft.com/office/officeart/2005/8/layout/chevron1"/>
    <dgm:cxn modelId="{271A0896-BDB6-4E1A-B41D-4800073E029F}" type="presParOf" srcId="{4138D66E-7609-4AFC-89D8-350352B5A604}" destId="{1E0AD08E-63F9-450F-889A-1D8E6A0803F2}" srcOrd="4" destOrd="0" presId="urn:microsoft.com/office/officeart/2005/8/layout/chevron1"/>
    <dgm:cxn modelId="{D456D184-350D-471A-91C6-9CB7EB62DB26}" type="presParOf" srcId="{4138D66E-7609-4AFC-89D8-350352B5A604}" destId="{80E631F5-9D40-4D7D-A6B6-BD4A737FDD22}" srcOrd="5" destOrd="0" presId="urn:microsoft.com/office/officeart/2005/8/layout/chevron1"/>
    <dgm:cxn modelId="{EEB3F7F1-8CA8-465D-B130-32AC9FC28CEE}" type="presParOf" srcId="{4138D66E-7609-4AFC-89D8-350352B5A604}" destId="{ABB4D728-E6F7-4EF1-AC07-C02EDC113325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48B87C-E64C-4C43-B37F-9E3A5076D5EE}">
      <dsp:nvSpPr>
        <dsp:cNvPr id="0" name=""/>
        <dsp:cNvSpPr/>
      </dsp:nvSpPr>
      <dsp:spPr>
        <a:xfrm>
          <a:off x="2906" y="120461"/>
          <a:ext cx="1691690" cy="676676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Liste der Gefahrstoffe (SDB)</a:t>
          </a:r>
          <a:endParaRPr lang="de-DE" sz="1000" kern="1200" dirty="0"/>
        </a:p>
      </dsp:txBody>
      <dsp:txXfrm>
        <a:off x="341244" y="120461"/>
        <a:ext cx="1015014" cy="676676"/>
      </dsp:txXfrm>
    </dsp:sp>
    <dsp:sp modelId="{A5DFD14F-61F3-45C4-A219-DFE568119900}">
      <dsp:nvSpPr>
        <dsp:cNvPr id="0" name=""/>
        <dsp:cNvSpPr/>
      </dsp:nvSpPr>
      <dsp:spPr>
        <a:xfrm>
          <a:off x="1525428" y="120461"/>
          <a:ext cx="1691690" cy="676676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Beurteilung der gefährlichen Eigenschaften</a:t>
          </a:r>
          <a:endParaRPr lang="de-DE" sz="1000" kern="1200" dirty="0"/>
        </a:p>
      </dsp:txBody>
      <dsp:txXfrm>
        <a:off x="1863766" y="120461"/>
        <a:ext cx="1015014" cy="676676"/>
      </dsp:txXfrm>
    </dsp:sp>
    <dsp:sp modelId="{1E0AD08E-63F9-450F-889A-1D8E6A0803F2}">
      <dsp:nvSpPr>
        <dsp:cNvPr id="0" name=""/>
        <dsp:cNvSpPr/>
      </dsp:nvSpPr>
      <dsp:spPr>
        <a:xfrm>
          <a:off x="3047949" y="120461"/>
          <a:ext cx="1691690" cy="676676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Substitution möglich? Dokumentation!</a:t>
          </a:r>
          <a:endParaRPr lang="de-DE" sz="1000" kern="1200" dirty="0"/>
        </a:p>
      </dsp:txBody>
      <dsp:txXfrm>
        <a:off x="3386287" y="120461"/>
        <a:ext cx="1015014" cy="676676"/>
      </dsp:txXfrm>
    </dsp:sp>
    <dsp:sp modelId="{ABB4D728-E6F7-4EF1-AC07-C02EDC113325}">
      <dsp:nvSpPr>
        <dsp:cNvPr id="0" name=""/>
        <dsp:cNvSpPr/>
      </dsp:nvSpPr>
      <dsp:spPr>
        <a:xfrm>
          <a:off x="4570471" y="120461"/>
          <a:ext cx="1691690" cy="676676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Beurteilung der möglichen Risiken durch Gefahrstoffe</a:t>
          </a:r>
          <a:endParaRPr lang="de-DE" sz="1000" kern="1200" dirty="0"/>
        </a:p>
      </dsp:txBody>
      <dsp:txXfrm>
        <a:off x="4908809" y="120461"/>
        <a:ext cx="1015014" cy="676676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48B87C-E64C-4C43-B37F-9E3A5076D5EE}">
      <dsp:nvSpPr>
        <dsp:cNvPr id="0" name=""/>
        <dsp:cNvSpPr/>
      </dsp:nvSpPr>
      <dsp:spPr>
        <a:xfrm>
          <a:off x="1392" y="62368"/>
          <a:ext cx="1696403" cy="678561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Berücksichtigung der Resultate medizinischer Untersuchungen</a:t>
          </a:r>
          <a:endParaRPr lang="de-DE" sz="900" kern="1200" dirty="0"/>
        </a:p>
      </dsp:txBody>
      <dsp:txXfrm>
        <a:off x="340673" y="62368"/>
        <a:ext cx="1017842" cy="678561"/>
      </dsp:txXfrm>
    </dsp:sp>
    <dsp:sp modelId="{A5DFD14F-61F3-45C4-A219-DFE568119900}">
      <dsp:nvSpPr>
        <dsp:cNvPr id="0" name=""/>
        <dsp:cNvSpPr/>
      </dsp:nvSpPr>
      <dsp:spPr>
        <a:xfrm>
          <a:off x="1528155" y="62368"/>
          <a:ext cx="1696403" cy="678561"/>
        </a:xfrm>
        <a:prstGeom prst="chevron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Definition und Prüfung der nötigen  Schutz-maßnahmen</a:t>
          </a:r>
          <a:endParaRPr lang="de-DE" sz="900" kern="1200" dirty="0"/>
        </a:p>
      </dsp:txBody>
      <dsp:txXfrm>
        <a:off x="1867436" y="62368"/>
        <a:ext cx="1017842" cy="678561"/>
      </dsp:txXfrm>
    </dsp:sp>
    <dsp:sp modelId="{1E0AD08E-63F9-450F-889A-1D8E6A0803F2}">
      <dsp:nvSpPr>
        <dsp:cNvPr id="0" name=""/>
        <dsp:cNvSpPr/>
      </dsp:nvSpPr>
      <dsp:spPr>
        <a:xfrm>
          <a:off x="3054918" y="62368"/>
          <a:ext cx="1696403" cy="678561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900" kern="1200" dirty="0" smtClean="0"/>
            <a:t>Dokumentation der Gefährdungs-</a:t>
          </a:r>
          <a:r>
            <a:rPr lang="de-DE" sz="900" kern="1200" dirty="0" err="1" smtClean="0"/>
            <a:t>beurteilung</a:t>
          </a:r>
          <a:endParaRPr lang="de-DE" sz="900" kern="1200" dirty="0"/>
        </a:p>
      </dsp:txBody>
      <dsp:txXfrm>
        <a:off x="3394199" y="62368"/>
        <a:ext cx="1017842" cy="6785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720527-1BF2-43F7-A22E-A3328DF2ED8D}" type="datetimeFigureOut">
              <a:rPr lang="de-DE" smtClean="0"/>
              <a:t>25.01.2017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4434F3-A10A-45E2-9A4E-5D4A489579C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2300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1426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tbekannten Ampelprinzip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Toleranzrisiko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spricht einem statistischen zusätzlichen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rebsrisiko von 4 : 1.000, d.h. dass statistisch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n 1.000 während des gesamten Arbeitslebens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ponierten Personen vier an Krebs erkranken.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ser Wert entspricht in etwa dem Risiko eines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schäftigten in der Landwirtschaft, tödlich zu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unglücken, oder dem Risiko eines beruflich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t Gefahrstoffen unbelasteten Nichtrauchers,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n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ungenkrebs zu erkranken. Oberhalb des Toleranzrisikos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lten Arbeitnehmer grundsätzlich nicht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oder nur kurzzeitig) exponiert werden</a:t>
            </a:r>
          </a:p>
          <a:p>
            <a:endParaRPr lang="de-DE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Grenze zwischen mittlerem Risiko (gelber</a:t>
            </a:r>
          </a:p>
          <a:p>
            <a:r>
              <a:rPr lang="de-DE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</a:t>
            </a:r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ich) und niedrigem Risiko (grüner Bereich)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zeichnet man als Akzeptanzrisiko. Das Akzeptanzrisiko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tspricht in der Einführungsphase bis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13 einem statistischen zusätzlichen Krebsrisiko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n 4 : 10.000, d.h. dass statistisch von 10.000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ährend des gesamten Arbeitslebens exponierten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ersonen vier an Krebs erkranken. Ab 2013 bis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ätestens 2018 wird es auf 4 Fälle pro 100.000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erringert. (allgemein verbleibendes Umweltrisiko)</a:t>
            </a:r>
          </a:p>
          <a:p>
            <a:endParaRPr lang="de-DE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s Konzept sieht einen entsprechenden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taillierten Maßnahmenkatalog vor.</a:t>
            </a:r>
          </a:p>
          <a:p>
            <a:endParaRPr lang="de-DE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terhalb des Akzeptanzrisikos werden zunächst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eine zusätzlichen Schutzmaßnahmen vom Arbeitgeber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zwingend geforder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13B98C-E842-4B1D-A3C6-57ABC6729648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94172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8574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2749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Beispiele für</a:t>
            </a:r>
            <a:r>
              <a:rPr lang="de-DE" baseline="0" dirty="0" smtClean="0"/>
              <a:t> </a:t>
            </a:r>
            <a:r>
              <a:rPr lang="de-DE" dirty="0" smtClean="0"/>
              <a:t>Produkte ohne Kennzeichnung die Gefahrstoffe</a:t>
            </a:r>
            <a:r>
              <a:rPr lang="de-DE" baseline="0" dirty="0" smtClean="0"/>
              <a:t> freisetzen: Schweißelektrode oder auch viele Reiniger (Hauptbestandteil Wasser, mit Lösemittelanteil knapp unter Einstufungsgrenze</a:t>
            </a:r>
          </a:p>
          <a:p>
            <a:endParaRPr lang="de-DE" baseline="0" dirty="0" smtClean="0"/>
          </a:p>
          <a:p>
            <a:r>
              <a:rPr lang="de-DE" baseline="0" dirty="0" smtClean="0"/>
              <a:t>Hier erwähnen: Rezeptoptimierung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73404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09902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6629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336076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84248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434F3-A10A-45E2-9A4E-5D4A489579C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450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der Praxis wurden die MAK und die TRK häufig als </a:t>
            </a:r>
            <a:r>
              <a:rPr lang="de-DE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„gleich sicher“ angesehen.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ine weitere Verringerung der Exposition erfolgte in den Betrieben oftmals nur mit</a:t>
            </a:r>
          </a:p>
          <a:p>
            <a:r>
              <a:rPr lang="de-DE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ßer zeitlicher Verzögerung.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sbesondere für Arbeitsplätze mit geringerer Belastung bestand</a:t>
            </a:r>
          </a:p>
          <a:p>
            <a:r>
              <a:rPr lang="de-DE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aum Druck zur weiteren Reduktion, selbst wenn es technisch möglich gewesen wäre.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</a:t>
            </a:r>
            <a:r>
              <a:rPr lang="de-DE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öhe des Restrisikos ist von Stoff zu Stoff sehr unterschiedlich und wird durch</a:t>
            </a:r>
          </a:p>
          <a:p>
            <a:r>
              <a:rPr lang="de-DE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ie TRK nicht deutlich.</a:t>
            </a:r>
          </a:p>
          <a:p>
            <a:endParaRPr lang="de-DE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e-DE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sherige Nachteile: Mangelnde Transparenz und Minimierungsdruck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13B98C-E842-4B1D-A3C6-57ABC6729648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3671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2"/>
            <a:ext cx="8785225" cy="2736851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bIns="360000" rtlCol="0" anchor="b" anchorCtr="0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7,6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181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7410"/>
            <a:ext cx="8172140" cy="84253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dirty="0" smtClean="0"/>
              <a:t>URL</a:t>
            </a:r>
          </a:p>
          <a:p>
            <a:pPr lvl="0"/>
            <a:endParaRPr lang="en-US" noProof="0" dirty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0"/>
            <a:ext cx="2556593" cy="13104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dirty="0" err="1" smtClean="0">
                <a:solidFill>
                  <a:schemeClr val="tx1"/>
                </a:solidFill>
              </a:rPr>
              <a:t>Wenn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Sie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ein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neues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Bild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einfügen</a:t>
            </a:r>
            <a:r>
              <a:rPr lang="en-US" sz="900" noProof="0" dirty="0" smtClean="0">
                <a:solidFill>
                  <a:schemeClr val="tx1"/>
                </a:solidFill>
              </a:rPr>
              <a:t>: </a:t>
            </a:r>
            <a:r>
              <a:rPr lang="en-US" sz="900" noProof="0" dirty="0" err="1" smtClean="0">
                <a:solidFill>
                  <a:schemeClr val="tx1"/>
                </a:solidFill>
              </a:rPr>
              <a:t>Klicken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Sie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mit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der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rechten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Maustaste</a:t>
            </a:r>
            <a:r>
              <a:rPr lang="en-US" sz="900" noProof="0" dirty="0" smtClean="0">
                <a:solidFill>
                  <a:schemeClr val="tx1"/>
                </a:solidFill>
              </a:rPr>
              <a:t> auf das </a:t>
            </a:r>
            <a:r>
              <a:rPr lang="en-US" sz="900" noProof="0" dirty="0" err="1" smtClean="0">
                <a:solidFill>
                  <a:schemeClr val="tx1"/>
                </a:solidFill>
              </a:rPr>
              <a:t>Bild</a:t>
            </a:r>
            <a:r>
              <a:rPr lang="en-US" sz="900" noProof="0" dirty="0" smtClean="0">
                <a:solidFill>
                  <a:schemeClr val="tx1"/>
                </a:solidFill>
              </a:rPr>
              <a:t> und </a:t>
            </a:r>
            <a:r>
              <a:rPr lang="en-US" sz="900" noProof="0" dirty="0" err="1" smtClean="0">
                <a:solidFill>
                  <a:schemeClr val="tx1"/>
                </a:solidFill>
              </a:rPr>
              <a:t>wählen</a:t>
            </a:r>
            <a:r>
              <a:rPr lang="en-US" sz="900" noProof="0" dirty="0" smtClean="0">
                <a:solidFill>
                  <a:schemeClr val="tx1"/>
                </a:solidFill>
              </a:rPr>
              <a:t> „In den </a:t>
            </a:r>
            <a:r>
              <a:rPr lang="en-US" sz="900" noProof="0" dirty="0" err="1" smtClean="0">
                <a:solidFill>
                  <a:schemeClr val="tx1"/>
                </a:solidFill>
              </a:rPr>
              <a:t>Hintergrund</a:t>
            </a:r>
            <a:r>
              <a:rPr lang="en-US" sz="900" noProof="0" dirty="0" smtClean="0">
                <a:solidFill>
                  <a:schemeClr val="tx1"/>
                </a:solidFill>
              </a:rPr>
              <a:t>“, um das </a:t>
            </a:r>
            <a:r>
              <a:rPr lang="en-US" sz="900" noProof="0" dirty="0" err="1" smtClean="0">
                <a:solidFill>
                  <a:schemeClr val="tx1"/>
                </a:solidFill>
              </a:rPr>
              <a:t>Bild</a:t>
            </a:r>
            <a:r>
              <a:rPr lang="en-US" sz="900" noProof="0" dirty="0" smtClean="0">
                <a:solidFill>
                  <a:schemeClr val="tx1"/>
                </a:solidFill>
              </a:rPr>
              <a:t> hinter das Quality Seal </a:t>
            </a:r>
            <a:r>
              <a:rPr lang="en-US" sz="900" noProof="0" dirty="0" err="1" smtClean="0">
                <a:solidFill>
                  <a:schemeClr val="tx1"/>
                </a:solidFill>
              </a:rPr>
              <a:t>zu</a:t>
            </a:r>
            <a:r>
              <a:rPr lang="en-US" sz="900" noProof="0" dirty="0" smtClean="0">
                <a:solidFill>
                  <a:schemeClr val="tx1"/>
                </a:solidFill>
              </a:rPr>
              <a:t> </a:t>
            </a:r>
            <a:r>
              <a:rPr lang="en-US" sz="900" noProof="0" dirty="0" err="1" smtClean="0">
                <a:solidFill>
                  <a:schemeClr val="tx1"/>
                </a:solidFill>
              </a:rPr>
              <a:t>bringen</a:t>
            </a:r>
            <a:r>
              <a:rPr lang="en-US" sz="900" noProof="0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sz="900" noProof="0" dirty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787650"/>
            <a:ext cx="8353425" cy="1368426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D1B2569-E16F-4FFF-9EC5-29BC0236DFAB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7788"/>
            <a:ext cx="4141788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4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5F1328-8865-4437-B9B5-1B98AE42546C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9F64C55-3C07-4FCB-9F06-CA7928BDD2EB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7788"/>
            <a:ext cx="2736850" cy="28082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7788"/>
            <a:ext cx="2736850" cy="28082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144BB05-B6BD-4EAF-8D90-F01B136B4D17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7788"/>
            <a:ext cx="4140200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7" y="1347788"/>
            <a:ext cx="4141787" cy="13858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BDE66952-8BA7-4545-9894-562BD7F5549F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2787650"/>
            <a:ext cx="4140199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2787650"/>
            <a:ext cx="4141788" cy="13684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durch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27E051F-9C00-4D71-9B67-0FF240BFCC4F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B9D1A53-3D50-465D-BEE6-D62CB4527C46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5334"/>
            <a:ext cx="8353425" cy="1900741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78878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100090C-1313-4C30-8D11-0904BE1DE7B0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8134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EADE39-D176-4F20-980F-C8D999BF5D0B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22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CAE601-AA0A-4E2D-A23A-B8A0B5331932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3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26 </a:t>
            </a:r>
            <a:r>
              <a:rPr lang="en-US" dirty="0" err="1" smtClean="0"/>
              <a:t>Januar</a:t>
            </a:r>
            <a:r>
              <a:rPr lang="en-US" dirty="0" smtClean="0"/>
              <a:t> 2017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Björn Stapel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2257200"/>
            <a:ext cx="8353425" cy="1898875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endParaRPr lang="en-US" noProof="0" dirty="0" smtClean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1580400"/>
            <a:ext cx="8353425" cy="720000"/>
          </a:xfrm>
        </p:spPr>
        <p:txBody>
          <a:bodyPr anchor="b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8F701C-372F-4C4A-8037-9EE90099ED8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3" name="Gerade Verbindung 2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2427585"/>
            <a:ext cx="8172140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2773185"/>
            <a:ext cx="8172140" cy="878685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/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6"/>
          <p:cNvGrpSpPr/>
          <p:nvPr userDrawn="1"/>
        </p:nvGrpSpPr>
        <p:grpSpPr>
          <a:xfrm>
            <a:off x="0" y="-1"/>
            <a:ext cx="9144000" cy="5143502"/>
            <a:chOff x="0" y="-1"/>
            <a:chExt cx="9144000" cy="6858002"/>
          </a:xfrm>
        </p:grpSpPr>
        <p:grpSp>
          <p:nvGrpSpPr>
            <p:cNvPr id="5" name="Gruppieren 15"/>
            <p:cNvGrpSpPr/>
            <p:nvPr userDrawn="1"/>
          </p:nvGrpSpPr>
          <p:grpSpPr>
            <a:xfrm>
              <a:off x="0" y="0"/>
              <a:ext cx="9144000" cy="6858001"/>
              <a:chOff x="0" y="0"/>
              <a:chExt cx="9144000" cy="6858001"/>
            </a:xfrm>
          </p:grpSpPr>
          <p:sp>
            <p:nvSpPr>
              <p:cNvPr id="9" name="Rechteck 8"/>
              <p:cNvSpPr/>
              <p:nvPr userDrawn="1"/>
            </p:nvSpPr>
            <p:spPr>
              <a:xfrm>
                <a:off x="0" y="0"/>
                <a:ext cx="9144000" cy="260351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" name="Rechteck 11"/>
              <p:cNvSpPr/>
              <p:nvPr userDrawn="1"/>
            </p:nvSpPr>
            <p:spPr>
              <a:xfrm>
                <a:off x="0" y="6597652"/>
                <a:ext cx="9144000" cy="26034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3" name="Rechteck 12"/>
              <p:cNvSpPr/>
              <p:nvPr userDrawn="1"/>
            </p:nvSpPr>
            <p:spPr>
              <a:xfrm>
                <a:off x="0" y="0"/>
                <a:ext cx="179388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5" name="Rechteck 14"/>
              <p:cNvSpPr/>
              <p:nvPr userDrawn="1"/>
            </p:nvSpPr>
            <p:spPr>
              <a:xfrm>
                <a:off x="8964612" y="0"/>
                <a:ext cx="179387" cy="685799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noProof="0" smtClean="0">
                  <a:solidFill>
                    <a:schemeClr val="bg2">
                      <a:lumMod val="10000"/>
                    </a:schemeClr>
                  </a:solidFill>
                </a:endParaRPr>
              </a:p>
            </p:txBody>
          </p:sp>
        </p:grpSp>
        <p:pic>
          <p:nvPicPr>
            <p:cNvPr id="14" name="Grafik 13"/>
            <p:cNvPicPr>
              <a:picLocks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238" y="-1"/>
              <a:ext cx="2555876" cy="17483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hteck 35"/>
          <p:cNvSpPr/>
          <p:nvPr userDrawn="1"/>
        </p:nvSpPr>
        <p:spPr>
          <a:xfrm>
            <a:off x="179389" y="195263"/>
            <a:ext cx="8785225" cy="47529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3,2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110400"/>
            <a:ext cx="8172141" cy="417600"/>
          </a:xfrm>
        </p:spPr>
        <p:txBody>
          <a:bodyPr tIns="0" rIns="0" bIns="0" anchor="t" anchorCtr="0">
            <a:no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3456000"/>
            <a:ext cx="8172140" cy="843942"/>
          </a:xfrm>
        </p:spPr>
        <p:txBody>
          <a:bodyPr tIns="0" rIns="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err="1" smtClean="0"/>
              <a:t>Formatvorlage</a:t>
            </a:r>
            <a:r>
              <a:rPr lang="en-US" noProof="0" dirty="0" smtClean="0"/>
              <a:t> des </a:t>
            </a:r>
            <a:r>
              <a:rPr lang="en-US" noProof="0" dirty="0" err="1" smtClean="0"/>
              <a:t>Untertitelmasters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4299942"/>
            <a:ext cx="2628590" cy="367200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2" y="4299942"/>
            <a:ext cx="5075797" cy="367200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grpSp>
        <p:nvGrpSpPr>
          <p:cNvPr id="4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6" name="Rechteck 15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0" name="Textplatzhalt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9" y="1"/>
            <a:ext cx="2555875" cy="1311274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/>
          </a:p>
        </p:txBody>
      </p:sp>
      <p:sp>
        <p:nvSpPr>
          <p:cNvPr id="31" name="Rechteck 30"/>
          <p:cNvSpPr/>
          <p:nvPr userDrawn="1"/>
        </p:nvSpPr>
        <p:spPr>
          <a:xfrm>
            <a:off x="503548" y="-425553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>
                <a:solidFill>
                  <a:schemeClr val="tx1"/>
                </a:solidFill>
              </a:rPr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>
                <a:solidFill>
                  <a:schemeClr val="tx1"/>
                </a:solidFill>
              </a:rPr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32" name="Gerade Verbindung 31"/>
          <p:cNvCxnSpPr/>
          <p:nvPr userDrawn="1"/>
        </p:nvCxnSpPr>
        <p:spPr>
          <a:xfrm>
            <a:off x="503548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3059832" y="-128550"/>
            <a:ext cx="0" cy="10038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4348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silver)">
    <p:bg>
      <p:bgPr>
        <a:gradFill>
          <a:gsLst>
            <a:gs pos="15000">
              <a:srgbClr val="747474"/>
            </a:gs>
            <a:gs pos="50000">
              <a:srgbClr val="D9D9D9"/>
            </a:gs>
            <a:gs pos="85000">
              <a:srgbClr val="747474"/>
            </a:gs>
          </a:gsLst>
          <a:lin ang="12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A50E087-B423-4C18-9429-A1A5FB87DB96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20" name="Rechteck 19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2" name="Rechteck 21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3" name="Rechteck 22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5" name="Gerade Verbindung 24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0126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A0CE834-690D-4F26-8C93-130BA36FD7C0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4" name="Gerade Verbindung 23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381647"/>
            <a:ext cx="1857600" cy="57054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2400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7223074-4D72-465E-909D-7D1DBB514C91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28082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0A75B6-8E1B-4380-84B9-49631E7ED158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grpSp>
        <p:nvGrpSpPr>
          <p:cNvPr id="2" name="Gruppieren 15"/>
          <p:cNvGrpSpPr/>
          <p:nvPr userDrawn="1"/>
        </p:nvGrpSpPr>
        <p:grpSpPr>
          <a:xfrm>
            <a:off x="0" y="0"/>
            <a:ext cx="9144000" cy="5143501"/>
            <a:chOff x="0" y="0"/>
            <a:chExt cx="9144000" cy="6858001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9144000" cy="260351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6597652"/>
              <a:ext cx="9144000" cy="26034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179388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799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cxnSp>
        <p:nvCxnSpPr>
          <p:cNvPr id="22" name="Gerade Verbindung 21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9" y="1347788"/>
            <a:ext cx="8353425" cy="13684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45A1C77-F3AB-418B-BB96-BF86CA98ED28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7226;MIO_UPDATE=True;MIO_VERSION=17.03.2014 13:10:5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 userDrawn="1"/>
        </p:nvCxnSpPr>
        <p:spPr>
          <a:xfrm>
            <a:off x="395289" y="4320706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1520" y="4381646"/>
            <a:ext cx="1857600" cy="57054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9" y="303212"/>
            <a:ext cx="8353425" cy="720726"/>
          </a:xfrm>
          <a:prstGeom prst="rect">
            <a:avLst/>
          </a:prstGeom>
        </p:spPr>
        <p:txBody>
          <a:bodyPr vert="horz" lIns="0" tIns="25200" rIns="91440" bIns="0" rtlCol="0" anchor="t" anchorCtr="0">
            <a:noAutofit/>
          </a:bodyPr>
          <a:lstStyle/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9" y="1342800"/>
            <a:ext cx="8353425" cy="281327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5" y="4551970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446C7CFE-FDAE-4A50-A309-ACAE703BAE6B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6" y="4665239"/>
            <a:ext cx="2001935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5" y="4665239"/>
            <a:ext cx="360289" cy="11283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 userDrawn="1">
            <p:custDataLst>
              <p:tags r:id="rId22"/>
            </p:custDataLst>
          </p:nvPr>
        </p:nvSpPr>
        <p:spPr bwMode="auto">
          <a:xfrm>
            <a:off x="3501407" y="4665239"/>
            <a:ext cx="2726779" cy="96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smtClean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 userDrawn="1">
            <p:custDataLst>
              <p:tags r:id="rId23"/>
            </p:custDataLst>
          </p:nvPr>
        </p:nvSpPr>
        <p:spPr bwMode="auto">
          <a:xfrm>
            <a:off x="3501407" y="4561587"/>
            <a:ext cx="2726778" cy="10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noProof="0" smtClean="0">
                <a:solidFill>
                  <a:schemeClr val="tx1"/>
                </a:solidFill>
                <a:latin typeface="+mn-lt"/>
              </a:rPr>
              <a:t>Gefahrstoffmanagement Konzern</a:t>
            </a:r>
            <a:endParaRPr lang="en-US" sz="700" b="1" noProof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 userDrawn="1">
            <p:custDataLst>
              <p:tags r:id="rId24"/>
            </p:custDataLst>
          </p:nvPr>
        </p:nvSpPr>
        <p:spPr>
          <a:xfrm>
            <a:off x="-1270000" y="-9525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://www.continental.de/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/><Relationship Id="rId13" Type="http://schemas.openxmlformats.org/officeDocument/2006/relationships/image" Target="../media/image9.png"/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12" Type="http://schemas.microsoft.com/office/2007/relationships/diagramDrawing" Target="../diagrams/drawing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Colors" Target="../diagrams/colors13.xml"/><Relationship Id="rId11" Type="http://schemas.openxmlformats.org/officeDocument/2006/relationships/diagramColors" Target="../diagrams/colors14.xml"/><Relationship Id="rId5" Type="http://schemas.openxmlformats.org/officeDocument/2006/relationships/diagramQuickStyle" Target="../diagrams/quickStyle13.xml"/><Relationship Id="rId15" Type="http://schemas.openxmlformats.org/officeDocument/2006/relationships/image" Target="../media/image11.png"/><Relationship Id="rId10" Type="http://schemas.openxmlformats.org/officeDocument/2006/relationships/diagramQuickStyle" Target="../diagrams/quickStyle14.xml"/><Relationship Id="rId4" Type="http://schemas.openxmlformats.org/officeDocument/2006/relationships/diagramLayout" Target="../diagrams/layout13.xml"/><Relationship Id="rId9" Type="http://schemas.openxmlformats.org/officeDocument/2006/relationships/diagramLayout" Target="../diagrams/layout14.xml"/><Relationship Id="rId1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6.xml"/><Relationship Id="rId13" Type="http://schemas.openxmlformats.org/officeDocument/2006/relationships/image" Target="../media/image12.png"/><Relationship Id="rId3" Type="http://schemas.openxmlformats.org/officeDocument/2006/relationships/diagramData" Target="../diagrams/data15.xml"/><Relationship Id="rId7" Type="http://schemas.microsoft.com/office/2007/relationships/diagramDrawing" Target="../diagrams/drawing15.xml"/><Relationship Id="rId12" Type="http://schemas.microsoft.com/office/2007/relationships/diagramDrawing" Target="../diagrams/drawing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diagramColors" Target="../diagrams/colors15.xml"/><Relationship Id="rId11" Type="http://schemas.openxmlformats.org/officeDocument/2006/relationships/diagramColors" Target="../diagrams/colors16.xml"/><Relationship Id="rId5" Type="http://schemas.openxmlformats.org/officeDocument/2006/relationships/diagramQuickStyle" Target="../diagrams/quickStyle15.xml"/><Relationship Id="rId15" Type="http://schemas.openxmlformats.org/officeDocument/2006/relationships/image" Target="../media/image14.png"/><Relationship Id="rId10" Type="http://schemas.openxmlformats.org/officeDocument/2006/relationships/diagramQuickStyle" Target="../diagrams/quickStyle16.xml"/><Relationship Id="rId4" Type="http://schemas.openxmlformats.org/officeDocument/2006/relationships/diagramLayout" Target="../diagrams/layout15.xml"/><Relationship Id="rId9" Type="http://schemas.openxmlformats.org/officeDocument/2006/relationships/diagramLayout" Target="../diagrams/layout16.xml"/><Relationship Id="rId1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8.xml"/><Relationship Id="rId13" Type="http://schemas.openxmlformats.org/officeDocument/2006/relationships/image" Target="../media/image15.jpeg"/><Relationship Id="rId3" Type="http://schemas.openxmlformats.org/officeDocument/2006/relationships/diagramData" Target="../diagrams/data17.xml"/><Relationship Id="rId7" Type="http://schemas.microsoft.com/office/2007/relationships/diagramDrawing" Target="../diagrams/drawing17.xml"/><Relationship Id="rId12" Type="http://schemas.microsoft.com/office/2007/relationships/diagramDrawing" Target="../diagrams/drawing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Colors" Target="../diagrams/colors17.xml"/><Relationship Id="rId11" Type="http://schemas.openxmlformats.org/officeDocument/2006/relationships/diagramColors" Target="../diagrams/colors18.xml"/><Relationship Id="rId5" Type="http://schemas.openxmlformats.org/officeDocument/2006/relationships/diagramQuickStyle" Target="../diagrams/quickStyle17.xml"/><Relationship Id="rId10" Type="http://schemas.openxmlformats.org/officeDocument/2006/relationships/diagramQuickStyle" Target="../diagrams/quickStyle18.xml"/><Relationship Id="rId4" Type="http://schemas.openxmlformats.org/officeDocument/2006/relationships/diagramLayout" Target="../diagrams/layout17.xml"/><Relationship Id="rId9" Type="http://schemas.openxmlformats.org/officeDocument/2006/relationships/diagramLayout" Target="../diagrams/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313" r="921" b="4371"/>
          <a:stretch/>
        </p:blipFill>
        <p:spPr>
          <a:xfrm>
            <a:off x="179511" y="195486"/>
            <a:ext cx="8784977" cy="273630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Runder</a:t>
            </a:r>
            <a:r>
              <a:rPr lang="en-US" dirty="0"/>
              <a:t> </a:t>
            </a:r>
            <a:r>
              <a:rPr lang="en-US" dirty="0" err="1"/>
              <a:t>Tisch</a:t>
            </a:r>
            <a:r>
              <a:rPr lang="en-US" dirty="0"/>
              <a:t> </a:t>
            </a:r>
            <a:r>
              <a:rPr lang="en-US" dirty="0" smtClean="0"/>
              <a:t>Hannover - </a:t>
            </a:r>
            <a:r>
              <a:rPr lang="en-US" dirty="0" err="1" smtClean="0"/>
              <a:t>Gefahrstoffe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Handlungsoptionen</a:t>
            </a:r>
            <a:r>
              <a:rPr lang="en-US" dirty="0"/>
              <a:t> </a:t>
            </a:r>
            <a:r>
              <a:rPr lang="en-US" dirty="0" err="1"/>
              <a:t>im</a:t>
            </a:r>
            <a:r>
              <a:rPr lang="en-US" dirty="0"/>
              <a:t> </a:t>
            </a:r>
            <a:r>
              <a:rPr lang="en-US" dirty="0" err="1"/>
              <a:t>Arbeitsschutz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>
                <a:hlinkClick r:id="rId4"/>
              </a:rPr>
              <a:t>www.continental.de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Björn </a:t>
            </a:r>
            <a:r>
              <a:rPr lang="en-US" dirty="0" err="1" smtClean="0"/>
              <a:t>Stapel</a:t>
            </a:r>
            <a:endParaRPr lang="en-US" dirty="0" smtClean="0"/>
          </a:p>
          <a:p>
            <a:r>
              <a:rPr lang="en-US" dirty="0" smtClean="0"/>
              <a:t>Continental AG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8705686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11" name="Gruppieren 54"/>
          <p:cNvGrpSpPr/>
          <p:nvPr/>
        </p:nvGrpSpPr>
        <p:grpSpPr>
          <a:xfrm>
            <a:off x="2068648" y="3064998"/>
            <a:ext cx="713164" cy="850043"/>
            <a:chOff x="5238889" y="4723914"/>
            <a:chExt cx="950885" cy="1133391"/>
          </a:xfrm>
        </p:grpSpPr>
        <p:grpSp>
          <p:nvGrpSpPr>
            <p:cNvPr id="12" name="Group 88"/>
            <p:cNvGrpSpPr>
              <a:grpSpLocks/>
            </p:cNvGrpSpPr>
            <p:nvPr/>
          </p:nvGrpSpPr>
          <p:grpSpPr bwMode="auto">
            <a:xfrm>
              <a:off x="5238889" y="4723914"/>
              <a:ext cx="950885" cy="1133391"/>
              <a:chOff x="3819" y="2578"/>
              <a:chExt cx="649" cy="714"/>
            </a:xfrm>
          </p:grpSpPr>
          <p:sp>
            <p:nvSpPr>
              <p:cNvPr id="14" name="Rectangle 89"/>
              <p:cNvSpPr>
                <a:spLocks noChangeArrowheads="1"/>
              </p:cNvSpPr>
              <p:nvPr/>
            </p:nvSpPr>
            <p:spPr bwMode="auto">
              <a:xfrm>
                <a:off x="3819" y="2578"/>
                <a:ext cx="649" cy="714"/>
              </a:xfrm>
              <a:prstGeom prst="rect">
                <a:avLst/>
              </a:prstGeom>
              <a:noFill/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5" name="Rectangle 98"/>
              <p:cNvSpPr>
                <a:spLocks noChangeArrowheads="1"/>
              </p:cNvSpPr>
              <p:nvPr/>
            </p:nvSpPr>
            <p:spPr bwMode="auto">
              <a:xfrm>
                <a:off x="3867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6" name="Rectangle 99"/>
              <p:cNvSpPr>
                <a:spLocks noChangeArrowheads="1"/>
              </p:cNvSpPr>
              <p:nvPr/>
            </p:nvSpPr>
            <p:spPr bwMode="auto">
              <a:xfrm>
                <a:off x="3909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7" name="Rectangle 100"/>
              <p:cNvSpPr>
                <a:spLocks noChangeArrowheads="1"/>
              </p:cNvSpPr>
              <p:nvPr/>
            </p:nvSpPr>
            <p:spPr bwMode="auto">
              <a:xfrm>
                <a:off x="3951" y="2854"/>
                <a:ext cx="31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8" name="Rectangle 101"/>
              <p:cNvSpPr>
                <a:spLocks noChangeArrowheads="1"/>
              </p:cNvSpPr>
              <p:nvPr/>
            </p:nvSpPr>
            <p:spPr bwMode="auto">
              <a:xfrm>
                <a:off x="3994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9" name="Rectangle 102"/>
              <p:cNvSpPr>
                <a:spLocks noChangeArrowheads="1"/>
              </p:cNvSpPr>
              <p:nvPr/>
            </p:nvSpPr>
            <p:spPr bwMode="auto">
              <a:xfrm>
                <a:off x="4036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0" name="Rectangle 103"/>
              <p:cNvSpPr>
                <a:spLocks noChangeArrowheads="1"/>
              </p:cNvSpPr>
              <p:nvPr/>
            </p:nvSpPr>
            <p:spPr bwMode="auto">
              <a:xfrm>
                <a:off x="4078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1" name="Rectangle 104"/>
              <p:cNvSpPr>
                <a:spLocks noChangeArrowheads="1"/>
              </p:cNvSpPr>
              <p:nvPr/>
            </p:nvSpPr>
            <p:spPr bwMode="auto">
              <a:xfrm>
                <a:off x="4126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2" name="Rectangle 105"/>
              <p:cNvSpPr>
                <a:spLocks noChangeArrowheads="1"/>
              </p:cNvSpPr>
              <p:nvPr/>
            </p:nvSpPr>
            <p:spPr bwMode="auto">
              <a:xfrm>
                <a:off x="4168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3" name="Rectangle 106"/>
              <p:cNvSpPr>
                <a:spLocks noChangeArrowheads="1"/>
              </p:cNvSpPr>
              <p:nvPr/>
            </p:nvSpPr>
            <p:spPr bwMode="auto">
              <a:xfrm>
                <a:off x="4210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4" name="Rectangle 107"/>
              <p:cNvSpPr>
                <a:spLocks noChangeArrowheads="1"/>
              </p:cNvSpPr>
              <p:nvPr/>
            </p:nvSpPr>
            <p:spPr bwMode="auto">
              <a:xfrm>
                <a:off x="4252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5" name="Rectangle 108"/>
              <p:cNvSpPr>
                <a:spLocks noChangeArrowheads="1"/>
              </p:cNvSpPr>
              <p:nvPr/>
            </p:nvSpPr>
            <p:spPr bwMode="auto">
              <a:xfrm>
                <a:off x="4294" y="28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6" name="Rectangle 109"/>
              <p:cNvSpPr>
                <a:spLocks noChangeArrowheads="1"/>
              </p:cNvSpPr>
              <p:nvPr/>
            </p:nvSpPr>
            <p:spPr bwMode="auto">
              <a:xfrm>
                <a:off x="3867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7" name="Rectangle 110"/>
              <p:cNvSpPr>
                <a:spLocks noChangeArrowheads="1"/>
              </p:cNvSpPr>
              <p:nvPr/>
            </p:nvSpPr>
            <p:spPr bwMode="auto">
              <a:xfrm>
                <a:off x="3909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8" name="Rectangle 111"/>
              <p:cNvSpPr>
                <a:spLocks noChangeArrowheads="1"/>
              </p:cNvSpPr>
              <p:nvPr/>
            </p:nvSpPr>
            <p:spPr bwMode="auto">
              <a:xfrm>
                <a:off x="3951" y="3004"/>
                <a:ext cx="31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9" name="Rectangle 112"/>
              <p:cNvSpPr>
                <a:spLocks noChangeArrowheads="1"/>
              </p:cNvSpPr>
              <p:nvPr/>
            </p:nvSpPr>
            <p:spPr bwMode="auto">
              <a:xfrm>
                <a:off x="3994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0" name="Rectangle 113"/>
              <p:cNvSpPr>
                <a:spLocks noChangeArrowheads="1"/>
              </p:cNvSpPr>
              <p:nvPr/>
            </p:nvSpPr>
            <p:spPr bwMode="auto">
              <a:xfrm>
                <a:off x="4036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1" name="Rectangle 114"/>
              <p:cNvSpPr>
                <a:spLocks noChangeArrowheads="1"/>
              </p:cNvSpPr>
              <p:nvPr/>
            </p:nvSpPr>
            <p:spPr bwMode="auto">
              <a:xfrm>
                <a:off x="4078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2" name="Rectangle 115"/>
              <p:cNvSpPr>
                <a:spLocks noChangeArrowheads="1"/>
              </p:cNvSpPr>
              <p:nvPr/>
            </p:nvSpPr>
            <p:spPr bwMode="auto">
              <a:xfrm>
                <a:off x="4126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3" name="Rectangle 116"/>
              <p:cNvSpPr>
                <a:spLocks noChangeArrowheads="1"/>
              </p:cNvSpPr>
              <p:nvPr/>
            </p:nvSpPr>
            <p:spPr bwMode="auto">
              <a:xfrm>
                <a:off x="4168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4" name="Rectangle 117"/>
              <p:cNvSpPr>
                <a:spLocks noChangeArrowheads="1"/>
              </p:cNvSpPr>
              <p:nvPr/>
            </p:nvSpPr>
            <p:spPr bwMode="auto">
              <a:xfrm>
                <a:off x="4210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5" name="Rectangle 118"/>
              <p:cNvSpPr>
                <a:spLocks noChangeArrowheads="1"/>
              </p:cNvSpPr>
              <p:nvPr/>
            </p:nvSpPr>
            <p:spPr bwMode="auto">
              <a:xfrm>
                <a:off x="4252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6" name="Rectangle 119"/>
              <p:cNvSpPr>
                <a:spLocks noChangeArrowheads="1"/>
              </p:cNvSpPr>
              <p:nvPr/>
            </p:nvSpPr>
            <p:spPr bwMode="auto">
              <a:xfrm>
                <a:off x="4294" y="300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7" name="Rectangle 120"/>
              <p:cNvSpPr>
                <a:spLocks noChangeArrowheads="1"/>
              </p:cNvSpPr>
              <p:nvPr/>
            </p:nvSpPr>
            <p:spPr bwMode="auto">
              <a:xfrm>
                <a:off x="3867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8" name="Rectangle 121"/>
              <p:cNvSpPr>
                <a:spLocks noChangeArrowheads="1"/>
              </p:cNvSpPr>
              <p:nvPr/>
            </p:nvSpPr>
            <p:spPr bwMode="auto">
              <a:xfrm>
                <a:off x="3909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9" name="Rectangle 122"/>
              <p:cNvSpPr>
                <a:spLocks noChangeArrowheads="1"/>
              </p:cNvSpPr>
              <p:nvPr/>
            </p:nvSpPr>
            <p:spPr bwMode="auto">
              <a:xfrm>
                <a:off x="3951" y="3154"/>
                <a:ext cx="31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0" name="Rectangle 123"/>
              <p:cNvSpPr>
                <a:spLocks noChangeArrowheads="1"/>
              </p:cNvSpPr>
              <p:nvPr/>
            </p:nvSpPr>
            <p:spPr bwMode="auto">
              <a:xfrm>
                <a:off x="3994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1" name="Rectangle 124"/>
              <p:cNvSpPr>
                <a:spLocks noChangeArrowheads="1"/>
              </p:cNvSpPr>
              <p:nvPr/>
            </p:nvSpPr>
            <p:spPr bwMode="auto">
              <a:xfrm>
                <a:off x="4036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2" name="Rectangle 125"/>
              <p:cNvSpPr>
                <a:spLocks noChangeArrowheads="1"/>
              </p:cNvSpPr>
              <p:nvPr/>
            </p:nvSpPr>
            <p:spPr bwMode="auto">
              <a:xfrm>
                <a:off x="4078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3" name="Rectangle 126"/>
              <p:cNvSpPr>
                <a:spLocks noChangeArrowheads="1"/>
              </p:cNvSpPr>
              <p:nvPr/>
            </p:nvSpPr>
            <p:spPr bwMode="auto">
              <a:xfrm>
                <a:off x="4126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4" name="Rectangle 127"/>
              <p:cNvSpPr>
                <a:spLocks noChangeArrowheads="1"/>
              </p:cNvSpPr>
              <p:nvPr/>
            </p:nvSpPr>
            <p:spPr bwMode="auto">
              <a:xfrm>
                <a:off x="4168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5" name="Rectangle 128"/>
              <p:cNvSpPr>
                <a:spLocks noChangeArrowheads="1"/>
              </p:cNvSpPr>
              <p:nvPr/>
            </p:nvSpPr>
            <p:spPr bwMode="auto">
              <a:xfrm>
                <a:off x="4210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6" name="Rectangle 129"/>
              <p:cNvSpPr>
                <a:spLocks noChangeArrowheads="1"/>
              </p:cNvSpPr>
              <p:nvPr/>
            </p:nvSpPr>
            <p:spPr bwMode="auto">
              <a:xfrm>
                <a:off x="4252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7" name="Rectangle 130"/>
              <p:cNvSpPr>
                <a:spLocks noChangeArrowheads="1"/>
              </p:cNvSpPr>
              <p:nvPr/>
            </p:nvSpPr>
            <p:spPr bwMode="auto">
              <a:xfrm>
                <a:off x="4294" y="3154"/>
                <a:ext cx="30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</p:grpSp>
        <p:sp>
          <p:nvSpPr>
            <p:cNvPr id="13" name="Textfeld 53"/>
            <p:cNvSpPr txBox="1"/>
            <p:nvPr/>
          </p:nvSpPr>
          <p:spPr>
            <a:xfrm>
              <a:off x="5397686" y="4731618"/>
              <a:ext cx="720710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350" dirty="0"/>
                <a:t>SDB</a:t>
              </a:r>
            </a:p>
          </p:txBody>
        </p:sp>
      </p:grpSp>
      <p:sp>
        <p:nvSpPr>
          <p:cNvPr id="48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915816" y="2920565"/>
            <a:ext cx="4320665" cy="112749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Gefahren für die Gesundheit</a:t>
            </a:r>
          </a:p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Gefahren für die Umwelt</a:t>
            </a:r>
          </a:p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Physikalische und Chemische Eigenschaften</a:t>
            </a:r>
          </a:p>
        </p:txBody>
      </p:sp>
    </p:spTree>
    <p:extLst>
      <p:ext uri="{BB962C8B-B14F-4D97-AF65-F5344CB8AC3E}">
        <p14:creationId xmlns:p14="http://schemas.microsoft.com/office/powerpoint/2010/main" val="10148914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2842927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89509" y="2859782"/>
            <a:ext cx="7164981" cy="148753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Für jeden gefährlichen Stoff / jedes gefährliche Gemisch muss regelmäßig geprüft werden, ob er durch ein weniger gefährliches Material ersetzt werden kann</a:t>
            </a:r>
          </a:p>
        </p:txBody>
      </p:sp>
    </p:spTree>
    <p:extLst>
      <p:ext uri="{BB962C8B-B14F-4D97-AF65-F5344CB8AC3E}">
        <p14:creationId xmlns:p14="http://schemas.microsoft.com/office/powerpoint/2010/main" val="33957899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048996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339752" y="2560928"/>
            <a:ext cx="3852613" cy="199104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Risikoabschätzung auf Basis vo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Stoff-/Gemischdaten (</a:t>
            </a:r>
            <a:r>
              <a:rPr lang="de-DE" sz="1500" dirty="0" smtClean="0"/>
              <a:t>SDB)</a:t>
            </a:r>
            <a:endParaRPr lang="de-DE" sz="1500" dirty="0"/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 smtClean="0"/>
              <a:t>Arbeitsplatzmessunge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Erfahrungswerten!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endParaRPr lang="de-DE" sz="1500" dirty="0"/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endParaRPr lang="de-DE" sz="1500" dirty="0"/>
          </a:p>
        </p:txBody>
      </p:sp>
    </p:spTree>
    <p:extLst>
      <p:ext uri="{BB962C8B-B14F-4D97-AF65-F5344CB8AC3E}">
        <p14:creationId xmlns:p14="http://schemas.microsoft.com/office/powerpoint/2010/main" val="172917485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5289" y="267494"/>
            <a:ext cx="8353425" cy="720725"/>
          </a:xfrm>
        </p:spPr>
        <p:txBody>
          <a:bodyPr/>
          <a:lstStyle/>
          <a:p>
            <a:r>
              <a:rPr lang="en-US" dirty="0" smtClean="0"/>
              <a:t>… </a:t>
            </a:r>
            <a:r>
              <a:rPr lang="en-US" dirty="0" err="1" smtClean="0"/>
              <a:t>seit</a:t>
            </a:r>
            <a:r>
              <a:rPr lang="en-US" dirty="0" smtClean="0"/>
              <a:t> 2005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 smtClean="0"/>
              <a:t>Bjö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tapel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  <p:sp>
        <p:nvSpPr>
          <p:cNvPr id="18" name="Abgerundetes Rechteck 17"/>
          <p:cNvSpPr/>
          <p:nvPr/>
        </p:nvSpPr>
        <p:spPr>
          <a:xfrm>
            <a:off x="3563886" y="2243844"/>
            <a:ext cx="1800200" cy="64033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900" dirty="0" smtClean="0">
                <a:solidFill>
                  <a:schemeClr val="bg1"/>
                </a:solidFill>
              </a:rPr>
              <a:t>Überarbeitung  der GefStoffV</a:t>
            </a:r>
          </a:p>
        </p:txBody>
      </p:sp>
      <p:graphicFrame>
        <p:nvGraphicFramePr>
          <p:cNvPr id="23" name="Inhaltsplatzhalter 1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4597738"/>
              </p:ext>
            </p:extLst>
          </p:nvPr>
        </p:nvGraphicFramePr>
        <p:xfrm>
          <a:off x="555829" y="1190064"/>
          <a:ext cx="2160240" cy="94996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1602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MAK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dirty="0" smtClean="0"/>
                        <a:t> </a:t>
                      </a:r>
                      <a:r>
                        <a:rPr lang="de-DE" sz="1400" dirty="0" smtClean="0"/>
                        <a:t>Kein</a:t>
                      </a:r>
                      <a:r>
                        <a:rPr lang="de-DE" sz="1400" baseline="0" dirty="0" smtClean="0"/>
                        <a:t> Restrisiko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/>
                        <a:t> Bewährtes Konzept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4" name="Tabel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321516"/>
              </p:ext>
            </p:extLst>
          </p:nvPr>
        </p:nvGraphicFramePr>
        <p:xfrm>
          <a:off x="6192428" y="1183774"/>
          <a:ext cx="2844068" cy="88392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844068"/>
              </a:tblGrid>
              <a:tr h="297428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TRK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dirty="0" smtClean="0"/>
                        <a:t> Restrisiko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/>
                        <a:t> Konzept mit Mängeln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6" name="Inhaltsplatzhalter 12"/>
          <p:cNvGraphicFramePr>
            <a:graphicFrameLocks/>
          </p:cNvGraphicFramePr>
          <p:nvPr/>
        </p:nvGraphicFramePr>
        <p:xfrm>
          <a:off x="323528" y="3291830"/>
          <a:ext cx="2520276" cy="57912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52027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Arbeitsplatzgrenzwert</a:t>
                      </a:r>
                    </a:p>
                    <a:p>
                      <a:pPr algn="ctr"/>
                      <a:r>
                        <a:rPr lang="de-DE" sz="1600" dirty="0" smtClean="0"/>
                        <a:t>(AGW)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7" name="Inhaltsplatzhalter 12"/>
          <p:cNvGraphicFramePr>
            <a:graphicFrameLocks/>
          </p:cNvGraphicFramePr>
          <p:nvPr/>
        </p:nvGraphicFramePr>
        <p:xfrm>
          <a:off x="6192427" y="3291830"/>
          <a:ext cx="2376015" cy="37084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37601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???</a:t>
                      </a:r>
                      <a:endParaRPr lang="de-DE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9" name="Nach rechts gekrümmter Pfeil 28"/>
          <p:cNvSpPr/>
          <p:nvPr/>
        </p:nvSpPr>
        <p:spPr>
          <a:xfrm>
            <a:off x="5435845" y="1275606"/>
            <a:ext cx="648321" cy="2376264"/>
          </a:xfrm>
          <a:prstGeom prst="curvedRight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30" name="Nach rechts gekrümmter Pfeil 29"/>
          <p:cNvSpPr/>
          <p:nvPr/>
        </p:nvSpPr>
        <p:spPr>
          <a:xfrm flipH="1">
            <a:off x="2915564" y="1275606"/>
            <a:ext cx="648321" cy="2376264"/>
          </a:xfrm>
          <a:prstGeom prst="curvedRightArrow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7057024" y="302774"/>
            <a:ext cx="1691690" cy="676676"/>
            <a:chOff x="4570471" y="120461"/>
            <a:chExt cx="1691690" cy="676676"/>
          </a:xfrm>
        </p:grpSpPr>
        <p:sp>
          <p:nvSpPr>
            <p:cNvPr id="14" name="Chevron 13"/>
            <p:cNvSpPr/>
            <p:nvPr/>
          </p:nvSpPr>
          <p:spPr>
            <a:xfrm>
              <a:off x="4570471" y="120461"/>
              <a:ext cx="1691690" cy="676676"/>
            </a:xfrm>
            <a:prstGeom prst="chevron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Chevron 4"/>
            <p:cNvSpPr/>
            <p:nvPr/>
          </p:nvSpPr>
          <p:spPr>
            <a:xfrm>
              <a:off x="4908809" y="120461"/>
              <a:ext cx="1015014" cy="6766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13335" rIns="13335" bIns="13335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00" kern="1200" dirty="0" smtClean="0"/>
                <a:t>Beurteilung der möglichen Risiken durch Gefahrstoffe</a:t>
              </a:r>
              <a:endParaRPr lang="de-DE" sz="1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0447170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9" grpId="0" animBg="1"/>
      <p:bldP spid="3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Einheitlicher, konsistenter Vergleichs- und Bewertungsmaßstab.</a:t>
            </a:r>
          </a:p>
          <a:p>
            <a:r>
              <a:rPr lang="de-DE" dirty="0" smtClean="0"/>
              <a:t>Je höher die Belastung durch einen krebserzeugenden Stoff und das damit verbundene Restrisiko ist, desto höher ist auch der Minimierungsdruck.</a:t>
            </a:r>
          </a:p>
          <a:p>
            <a:r>
              <a:rPr lang="de-DE" dirty="0" smtClean="0"/>
              <a:t>Die Ergebnisse werden offen gelegt. Unterschiedliche Tätigkeiten sind möglicherweise mit Unterschiedlichen Risiken verknüpft und ziehen andere Maßnahmen nach sich.</a:t>
            </a:r>
          </a:p>
          <a:p>
            <a:pPr>
              <a:buNone/>
            </a:pPr>
            <a:r>
              <a:rPr lang="de-DE" b="1" dirty="0" smtClean="0">
                <a:sym typeface="Wingdings" pitchFamily="2" charset="2"/>
              </a:rPr>
              <a:t> </a:t>
            </a:r>
            <a:r>
              <a:rPr lang="de-DE" b="1" dirty="0" smtClean="0"/>
              <a:t>Erhöhter Minimierungsdruck: Proportional zum Risiko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isikokonzept für krebserzeugende Stoffe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 err="1" smtClean="0"/>
              <a:t>Björn</a:t>
            </a:r>
            <a:r>
              <a:rPr lang="en-US" noProof="0" dirty="0" smtClean="0"/>
              <a:t> </a:t>
            </a:r>
            <a:r>
              <a:rPr lang="en-US" noProof="0" dirty="0" err="1" smtClean="0"/>
              <a:t>Stapel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  <p:grpSp>
        <p:nvGrpSpPr>
          <p:cNvPr id="10" name="Group 9"/>
          <p:cNvGrpSpPr/>
          <p:nvPr/>
        </p:nvGrpSpPr>
        <p:grpSpPr>
          <a:xfrm>
            <a:off x="7057024" y="302774"/>
            <a:ext cx="1691690" cy="676676"/>
            <a:chOff x="4570471" y="120461"/>
            <a:chExt cx="1691690" cy="676676"/>
          </a:xfrm>
        </p:grpSpPr>
        <p:sp>
          <p:nvSpPr>
            <p:cNvPr id="11" name="Chevron 10"/>
            <p:cNvSpPr/>
            <p:nvPr/>
          </p:nvSpPr>
          <p:spPr>
            <a:xfrm>
              <a:off x="4570471" y="120461"/>
              <a:ext cx="1691690" cy="676676"/>
            </a:xfrm>
            <a:prstGeom prst="chevron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Chevron 4"/>
            <p:cNvSpPr/>
            <p:nvPr/>
          </p:nvSpPr>
          <p:spPr>
            <a:xfrm>
              <a:off x="4908809" y="120461"/>
              <a:ext cx="1015014" cy="6766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13335" rIns="13335" bIns="13335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00" kern="1200" dirty="0" smtClean="0"/>
                <a:t>Beurteilung der möglichen Risiken durch Gefahrstoffe</a:t>
              </a:r>
              <a:endParaRPr lang="de-DE" sz="1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352313787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as Risiko-Akzeptanz-Konzept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dirty="0" smtClean="0"/>
              <a:t>26 </a:t>
            </a:r>
            <a:r>
              <a:rPr lang="en-US" noProof="0" dirty="0" err="1" smtClean="0"/>
              <a:t>Januar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5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 rot="10800000">
            <a:off x="4572001" y="843557"/>
            <a:ext cx="792088" cy="3463305"/>
          </a:xfrm>
          <a:prstGeom prst="rect">
            <a:avLst/>
          </a:prstGeom>
          <a:gradFill>
            <a:gsLst>
              <a:gs pos="7000">
                <a:srgbClr val="FF0000"/>
              </a:gs>
              <a:gs pos="50000">
                <a:srgbClr val="FFFF00"/>
              </a:gs>
              <a:gs pos="100000">
                <a:srgbClr val="00B050"/>
              </a:gs>
              <a:gs pos="100000">
                <a:schemeClr val="accent1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  <a:lin ang="16200000" scaled="0"/>
          </a:gra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9" name="Geschweifte Klammer rechts 8"/>
          <p:cNvSpPr/>
          <p:nvPr/>
        </p:nvSpPr>
        <p:spPr>
          <a:xfrm rot="10800000">
            <a:off x="4139952" y="886694"/>
            <a:ext cx="180018" cy="1108992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Geschweifte Klammer rechts 9"/>
          <p:cNvSpPr/>
          <p:nvPr/>
        </p:nvSpPr>
        <p:spPr>
          <a:xfrm rot="10800000">
            <a:off x="4139953" y="3190950"/>
            <a:ext cx="180018" cy="1108992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Geschweifte Klammer rechts 10"/>
          <p:cNvSpPr/>
          <p:nvPr/>
        </p:nvSpPr>
        <p:spPr>
          <a:xfrm>
            <a:off x="5616118" y="2182838"/>
            <a:ext cx="180018" cy="1108992"/>
          </a:xfrm>
          <a:prstGeom prst="rightBrac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2" name="Inhaltsplatzhalter 12"/>
          <p:cNvGraphicFramePr>
            <a:graphicFrameLocks/>
          </p:cNvGraphicFramePr>
          <p:nvPr/>
        </p:nvGraphicFramePr>
        <p:xfrm>
          <a:off x="467544" y="915566"/>
          <a:ext cx="3024337" cy="116332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302433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Rot: Stopp!</a:t>
                      </a:r>
                      <a:endParaRPr lang="de-DE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dirty="0" smtClean="0"/>
                        <a:t> </a:t>
                      </a:r>
                      <a:r>
                        <a:rPr lang="de-DE" sz="1400" dirty="0" smtClean="0">
                          <a:latin typeface="+mn-lt"/>
                        </a:rPr>
                        <a:t>Gesundheitsrisiko</a:t>
                      </a:r>
                      <a:r>
                        <a:rPr lang="de-DE" sz="1400" baseline="0" dirty="0" smtClean="0">
                          <a:latin typeface="+mn-lt"/>
                        </a:rPr>
                        <a:t> nicht tolerierba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>
                          <a:latin typeface="+mn-lt"/>
                        </a:rPr>
                        <a:t> Gefahrenbereich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>
                          <a:latin typeface="+mn-lt"/>
                        </a:rPr>
                        <a:t> ggf. Anwendungsverbo</a:t>
                      </a:r>
                      <a:r>
                        <a:rPr lang="de-DE" sz="1400" baseline="0" dirty="0" smtClean="0"/>
                        <a:t>t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4" name="Inhaltsplatzhalter 12"/>
          <p:cNvGraphicFramePr>
            <a:graphicFrameLocks/>
          </p:cNvGraphicFramePr>
          <p:nvPr/>
        </p:nvGraphicFramePr>
        <p:xfrm>
          <a:off x="467544" y="3277974"/>
          <a:ext cx="3024337" cy="94996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302433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Grün: Gehe!</a:t>
                      </a:r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800" baseline="0" dirty="0" smtClean="0"/>
                        <a:t> </a:t>
                      </a:r>
                      <a:r>
                        <a:rPr lang="de-DE" sz="1400" baseline="0" dirty="0" smtClean="0"/>
                        <a:t>Gesundheitsrisiko hinnehmbar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/>
                        <a:t> Sorgfaltspflichten bleiben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5" name="Inhaltsplatzhalter 12"/>
          <p:cNvGraphicFramePr>
            <a:graphicFrameLocks/>
          </p:cNvGraphicFramePr>
          <p:nvPr/>
        </p:nvGraphicFramePr>
        <p:xfrm>
          <a:off x="6012160" y="2269862"/>
          <a:ext cx="2808312" cy="949960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280831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chemeClr val="tx1"/>
                          </a:solidFill>
                        </a:rPr>
                        <a:t>Gelb: Achtung!</a:t>
                      </a:r>
                      <a:endParaRPr lang="de-D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dirty="0" smtClean="0"/>
                        <a:t> </a:t>
                      </a:r>
                      <a:r>
                        <a:rPr lang="de-DE" sz="1400" dirty="0" smtClean="0"/>
                        <a:t>Gesundheitsrisiko</a:t>
                      </a:r>
                      <a:r>
                        <a:rPr lang="de-DE" sz="1400" baseline="0" dirty="0" smtClean="0"/>
                        <a:t> unerwünscht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de-DE" sz="1400" baseline="0" dirty="0" smtClean="0"/>
                        <a:t> aktives Risikomanagement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Abgerundetes Rechteck 15"/>
          <p:cNvSpPr/>
          <p:nvPr/>
        </p:nvSpPr>
        <p:spPr>
          <a:xfrm>
            <a:off x="3779912" y="1675519"/>
            <a:ext cx="2016224" cy="64033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Toleranzrisiko</a:t>
            </a:r>
          </a:p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=</a:t>
            </a:r>
          </a:p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Gefahrenschwelle</a:t>
            </a:r>
          </a:p>
        </p:txBody>
      </p:sp>
      <p:sp>
        <p:nvSpPr>
          <p:cNvPr id="17" name="Abgerundetes Rechteck 16"/>
          <p:cNvSpPr/>
          <p:nvPr/>
        </p:nvSpPr>
        <p:spPr>
          <a:xfrm>
            <a:off x="3779912" y="2957807"/>
            <a:ext cx="2016224" cy="64033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Akzeptanzrisiko</a:t>
            </a:r>
          </a:p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=</a:t>
            </a:r>
          </a:p>
          <a:p>
            <a:pPr algn="ctr"/>
            <a:r>
              <a:rPr lang="de-DE" sz="1400" dirty="0" smtClean="0">
                <a:solidFill>
                  <a:schemeClr val="bg1"/>
                </a:solidFill>
              </a:rPr>
              <a:t>Besorgnisschwell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7057024" y="303213"/>
            <a:ext cx="1691690" cy="676676"/>
            <a:chOff x="4570471" y="120461"/>
            <a:chExt cx="1691690" cy="676676"/>
          </a:xfrm>
        </p:grpSpPr>
        <p:sp>
          <p:nvSpPr>
            <p:cNvPr id="19" name="Chevron 18"/>
            <p:cNvSpPr/>
            <p:nvPr/>
          </p:nvSpPr>
          <p:spPr>
            <a:xfrm>
              <a:off x="4570471" y="120461"/>
              <a:ext cx="1691690" cy="676676"/>
            </a:xfrm>
            <a:prstGeom prst="chevron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Chevron 4"/>
            <p:cNvSpPr/>
            <p:nvPr/>
          </p:nvSpPr>
          <p:spPr>
            <a:xfrm>
              <a:off x="4908809" y="120461"/>
              <a:ext cx="1015014" cy="67667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13335" rIns="13335" bIns="13335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1000" kern="1200" dirty="0" smtClean="0"/>
                <a:t>Beurteilung der möglichen Risiken durch Gefahrstoffe</a:t>
              </a:r>
              <a:endParaRPr lang="de-DE" sz="10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2689651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6" grpId="0" animBg="1"/>
      <p:bldP spid="1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6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8727103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87386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3529" y="1779662"/>
            <a:ext cx="7350540" cy="2736130"/>
          </a:xfrm>
        </p:spPr>
        <p:txBody>
          <a:bodyPr>
            <a:normAutofit/>
          </a:bodyPr>
          <a:lstStyle/>
          <a:p>
            <a:r>
              <a:rPr lang="de-DE" dirty="0" smtClean="0"/>
              <a:t>Auf Grundlage der Gefährdungsbeurteilung hat der Arbeitgeber für eine angemessene arbeitsmedizinische Vorsorge zu sorgen. (Fürsorgepflicht des Arbeitgebers!)</a:t>
            </a:r>
          </a:p>
          <a:p>
            <a:r>
              <a:rPr lang="de-DE" dirty="0" smtClean="0"/>
              <a:t>Man unterscheidet dabei in </a:t>
            </a:r>
            <a:r>
              <a:rPr lang="de-DE" b="1" dirty="0">
                <a:solidFill>
                  <a:schemeClr val="accent1"/>
                </a:solidFill>
                <a:ea typeface="+mj-ea"/>
              </a:rPr>
              <a:t>Pflicht</a:t>
            </a:r>
            <a:r>
              <a:rPr lang="de-DE" dirty="0" smtClean="0"/>
              <a:t>untersuchungen und </a:t>
            </a:r>
            <a:r>
              <a:rPr lang="de-DE" b="1" dirty="0" smtClean="0">
                <a:solidFill>
                  <a:schemeClr val="accent1"/>
                </a:solidFill>
                <a:ea typeface="+mj-ea"/>
              </a:rPr>
              <a:t>Angebots</a:t>
            </a:r>
            <a:r>
              <a:rPr lang="de-DE" dirty="0" smtClean="0"/>
              <a:t>untersuchungen.</a:t>
            </a:r>
          </a:p>
          <a:p>
            <a:pPr lvl="1"/>
            <a:r>
              <a:rPr lang="de-DE" dirty="0" smtClean="0"/>
              <a:t>Erkenntnisse vom Biomonitoring können als Informationsquelle bei der Gefährdungsbeurteilung genutzt werden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rbeitsmedizinische Vorsorge</a:t>
            </a:r>
            <a:br>
              <a:rPr lang="de-DE" dirty="0" smtClean="0"/>
            </a:br>
            <a:r>
              <a:rPr lang="de-DE" sz="1600" dirty="0" smtClean="0"/>
              <a:t>(ArbSchG § 11, ArbMedVV, DGUV Vorschrift 6)</a:t>
            </a:r>
            <a:endParaRPr lang="de-DE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7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grpSp>
        <p:nvGrpSpPr>
          <p:cNvPr id="135" name="Group 134"/>
          <p:cNvGrpSpPr/>
          <p:nvPr/>
        </p:nvGrpSpPr>
        <p:grpSpPr>
          <a:xfrm>
            <a:off x="6994267" y="309013"/>
            <a:ext cx="1696403" cy="678561"/>
            <a:chOff x="1392" y="62368"/>
            <a:chExt cx="1696403" cy="678561"/>
          </a:xfrm>
        </p:grpSpPr>
        <p:sp>
          <p:nvSpPr>
            <p:cNvPr id="136" name="Chevron 135"/>
            <p:cNvSpPr/>
            <p:nvPr/>
          </p:nvSpPr>
          <p:spPr>
            <a:xfrm>
              <a:off x="1392" y="62368"/>
              <a:ext cx="1696403" cy="678561"/>
            </a:xfrm>
            <a:prstGeom prst="chevron">
              <a:avLst/>
            </a:prstGeom>
            <a:solidFill>
              <a:schemeClr val="accent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7" name="Chevron 4"/>
            <p:cNvSpPr/>
            <p:nvPr/>
          </p:nvSpPr>
          <p:spPr>
            <a:xfrm>
              <a:off x="340673" y="62368"/>
              <a:ext cx="1017842" cy="67856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005" tIns="12002" rIns="12002" bIns="12002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de-DE" sz="900" kern="1200" dirty="0" smtClean="0"/>
                <a:t>Berücksichtigung der Resultate medizinischer Untersuchungen</a:t>
              </a:r>
              <a:endParaRPr lang="de-DE" sz="9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447287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8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471622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9467" y="2452370"/>
            <a:ext cx="4320665" cy="199104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Auf Grundlage der Risikoabschätzung werden Schutzmaßnahmen definiert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Technische Maßnahmen</a:t>
            </a:r>
          </a:p>
        </p:txBody>
      </p:sp>
    </p:spTree>
    <p:extLst>
      <p:ext uri="{BB962C8B-B14F-4D97-AF65-F5344CB8AC3E}">
        <p14:creationId xmlns:p14="http://schemas.microsoft.com/office/powerpoint/2010/main" val="13864682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9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2239168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9467" y="2452370"/>
            <a:ext cx="4320665" cy="199104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Auf Grundlage der Risikoabschätzung werden Schutzmaßnahmen definiert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Technische Maßnahme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Organisatorische Maßnahmen</a:t>
            </a:r>
          </a:p>
        </p:txBody>
      </p:sp>
      <p:grpSp>
        <p:nvGrpSpPr>
          <p:cNvPr id="11" name="Gruppieren 84"/>
          <p:cNvGrpSpPr/>
          <p:nvPr/>
        </p:nvGrpSpPr>
        <p:grpSpPr>
          <a:xfrm>
            <a:off x="6731794" y="2785740"/>
            <a:ext cx="1274388" cy="875106"/>
            <a:chOff x="6345721" y="3475033"/>
            <a:chExt cx="1699184" cy="1166808"/>
          </a:xfrm>
        </p:grpSpPr>
        <p:sp>
          <p:nvSpPr>
            <p:cNvPr id="12" name="Rectangle 21"/>
            <p:cNvSpPr>
              <a:spLocks noChangeArrowheads="1"/>
            </p:cNvSpPr>
            <p:nvPr/>
          </p:nvSpPr>
          <p:spPr bwMode="auto">
            <a:xfrm>
              <a:off x="6345721" y="3475033"/>
              <a:ext cx="169918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545795" eaLnBrk="0" hangingPunct="0"/>
              <a:r>
                <a:rPr lang="de-DE" sz="1200" dirty="0">
                  <a:solidFill>
                    <a:srgbClr val="000000"/>
                  </a:solidFill>
                </a:rPr>
                <a:t>Lagerbedingungen</a:t>
              </a:r>
              <a:endParaRPr lang="de-DE" sz="1200" dirty="0">
                <a:solidFill>
                  <a:schemeClr val="tx2"/>
                </a:solidFill>
                <a:latin typeface="Times New Roman" pitchFamily="18" charset="0"/>
              </a:endParaRPr>
            </a:p>
          </p:txBody>
        </p:sp>
        <p:grpSp>
          <p:nvGrpSpPr>
            <p:cNvPr id="13" name="Group 22"/>
            <p:cNvGrpSpPr>
              <a:grpSpLocks/>
            </p:cNvGrpSpPr>
            <p:nvPr/>
          </p:nvGrpSpPr>
          <p:grpSpPr bwMode="auto">
            <a:xfrm>
              <a:off x="6945612" y="3751421"/>
              <a:ext cx="986192" cy="890420"/>
              <a:chOff x="4377" y="1283"/>
              <a:chExt cx="978" cy="720"/>
            </a:xfrm>
          </p:grpSpPr>
          <p:sp>
            <p:nvSpPr>
              <p:cNvPr id="14" name="Rectangle 23"/>
              <p:cNvSpPr>
                <a:spLocks noChangeArrowheads="1"/>
              </p:cNvSpPr>
              <p:nvPr/>
            </p:nvSpPr>
            <p:spPr bwMode="auto">
              <a:xfrm>
                <a:off x="4449" y="1355"/>
                <a:ext cx="342" cy="276"/>
              </a:xfrm>
              <a:prstGeom prst="rect">
                <a:avLst/>
              </a:prstGeom>
              <a:solidFill>
                <a:srgbClr val="DEDEDE"/>
              </a:solidFill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5" name="Rectangle 24"/>
              <p:cNvSpPr>
                <a:spLocks noChangeArrowheads="1"/>
              </p:cNvSpPr>
              <p:nvPr/>
            </p:nvSpPr>
            <p:spPr bwMode="auto">
              <a:xfrm>
                <a:off x="4923" y="1355"/>
                <a:ext cx="342" cy="276"/>
              </a:xfrm>
              <a:prstGeom prst="rect">
                <a:avLst/>
              </a:prstGeom>
              <a:solidFill>
                <a:srgbClr val="DEDEDE"/>
              </a:solidFill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16" name="Rectangle 25"/>
              <p:cNvSpPr>
                <a:spLocks noChangeArrowheads="1"/>
              </p:cNvSpPr>
              <p:nvPr/>
            </p:nvSpPr>
            <p:spPr bwMode="auto">
              <a:xfrm>
                <a:off x="4449" y="1667"/>
                <a:ext cx="342" cy="276"/>
              </a:xfrm>
              <a:prstGeom prst="rect">
                <a:avLst/>
              </a:prstGeom>
              <a:solidFill>
                <a:srgbClr val="DEDEDE"/>
              </a:solidFill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pic>
            <p:nvPicPr>
              <p:cNvPr id="17" name="Picture 26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5025" y="1379"/>
                <a:ext cx="138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" name="Rectangle 27"/>
              <p:cNvSpPr>
                <a:spLocks noChangeArrowheads="1"/>
              </p:cNvSpPr>
              <p:nvPr/>
            </p:nvSpPr>
            <p:spPr bwMode="auto">
              <a:xfrm>
                <a:off x="5019" y="1379"/>
                <a:ext cx="138" cy="228"/>
              </a:xfrm>
              <a:prstGeom prst="rect">
                <a:avLst/>
              </a:prstGeom>
              <a:noFill/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pic>
            <p:nvPicPr>
              <p:cNvPr id="19" name="Picture 28"/>
              <p:cNvPicPr>
                <a:picLocks noChangeAspect="1" noChangeArrowheads="1"/>
              </p:cNvPicPr>
              <p:nvPr/>
            </p:nvPicPr>
            <p:blipFill>
              <a:blip r:embed="rId14"/>
              <a:srcRect/>
              <a:stretch>
                <a:fillRect/>
              </a:stretch>
            </p:blipFill>
            <p:spPr bwMode="auto">
              <a:xfrm>
                <a:off x="5043" y="1391"/>
                <a:ext cx="102" cy="1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0" name="Rectangle 29"/>
              <p:cNvSpPr>
                <a:spLocks noChangeArrowheads="1"/>
              </p:cNvSpPr>
              <p:nvPr/>
            </p:nvSpPr>
            <p:spPr bwMode="auto">
              <a:xfrm>
                <a:off x="5019" y="1547"/>
                <a:ext cx="138" cy="6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1" name="Line 30"/>
              <p:cNvSpPr>
                <a:spLocks noChangeShapeType="1"/>
              </p:cNvSpPr>
              <p:nvPr/>
            </p:nvSpPr>
            <p:spPr bwMode="auto">
              <a:xfrm>
                <a:off x="5019" y="1541"/>
                <a:ext cx="144" cy="1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2" name="Rectangle 31"/>
              <p:cNvSpPr>
                <a:spLocks noChangeArrowheads="1"/>
              </p:cNvSpPr>
              <p:nvPr/>
            </p:nvSpPr>
            <p:spPr bwMode="auto">
              <a:xfrm>
                <a:off x="5067" y="1553"/>
                <a:ext cx="54" cy="6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3" name="Rectangle 32"/>
              <p:cNvSpPr>
                <a:spLocks noChangeArrowheads="1"/>
              </p:cNvSpPr>
              <p:nvPr/>
            </p:nvSpPr>
            <p:spPr bwMode="auto">
              <a:xfrm>
                <a:off x="5043" y="1583"/>
                <a:ext cx="102" cy="6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pic>
            <p:nvPicPr>
              <p:cNvPr id="24" name="Picture 33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4557" y="1379"/>
                <a:ext cx="144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4563" y="1397"/>
                <a:ext cx="120" cy="126"/>
              </a:xfrm>
              <a:custGeom>
                <a:avLst/>
                <a:gdLst/>
                <a:ahLst/>
                <a:cxnLst>
                  <a:cxn ang="0">
                    <a:pos x="96" y="0"/>
                  </a:cxn>
                  <a:cxn ang="0">
                    <a:pos x="0" y="96"/>
                  </a:cxn>
                  <a:cxn ang="0">
                    <a:pos x="30" y="126"/>
                  </a:cxn>
                  <a:cxn ang="0">
                    <a:pos x="120" y="30"/>
                  </a:cxn>
                  <a:cxn ang="0">
                    <a:pos x="96" y="0"/>
                  </a:cxn>
                </a:cxnLst>
                <a:rect l="0" t="0" r="r" b="b"/>
                <a:pathLst>
                  <a:path w="120" h="126">
                    <a:moveTo>
                      <a:pt x="96" y="0"/>
                    </a:moveTo>
                    <a:lnTo>
                      <a:pt x="0" y="96"/>
                    </a:lnTo>
                    <a:lnTo>
                      <a:pt x="30" y="126"/>
                    </a:lnTo>
                    <a:lnTo>
                      <a:pt x="120" y="3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6" name="Freeform 35"/>
              <p:cNvSpPr>
                <a:spLocks/>
              </p:cNvSpPr>
              <p:nvPr/>
            </p:nvSpPr>
            <p:spPr bwMode="auto">
              <a:xfrm>
                <a:off x="4563" y="1403"/>
                <a:ext cx="120" cy="120"/>
              </a:xfrm>
              <a:custGeom>
                <a:avLst/>
                <a:gdLst/>
                <a:ahLst/>
                <a:cxnLst>
                  <a:cxn ang="0">
                    <a:pos x="120" y="90"/>
                  </a:cxn>
                  <a:cxn ang="0">
                    <a:pos x="30" y="0"/>
                  </a:cxn>
                  <a:cxn ang="0">
                    <a:pos x="0" y="24"/>
                  </a:cxn>
                  <a:cxn ang="0">
                    <a:pos x="96" y="120"/>
                  </a:cxn>
                  <a:cxn ang="0">
                    <a:pos x="120" y="90"/>
                  </a:cxn>
                </a:cxnLst>
                <a:rect l="0" t="0" r="r" b="b"/>
                <a:pathLst>
                  <a:path w="120" h="120">
                    <a:moveTo>
                      <a:pt x="120" y="90"/>
                    </a:moveTo>
                    <a:lnTo>
                      <a:pt x="30" y="0"/>
                    </a:lnTo>
                    <a:lnTo>
                      <a:pt x="0" y="24"/>
                    </a:lnTo>
                    <a:lnTo>
                      <a:pt x="96" y="120"/>
                    </a:lnTo>
                    <a:lnTo>
                      <a:pt x="12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7" name="Rectangle 36"/>
              <p:cNvSpPr>
                <a:spLocks noChangeArrowheads="1"/>
              </p:cNvSpPr>
              <p:nvPr/>
            </p:nvSpPr>
            <p:spPr bwMode="auto">
              <a:xfrm>
                <a:off x="4557" y="1547"/>
                <a:ext cx="138" cy="60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8" name="Rectangle 37"/>
              <p:cNvSpPr>
                <a:spLocks noChangeArrowheads="1"/>
              </p:cNvSpPr>
              <p:nvPr/>
            </p:nvSpPr>
            <p:spPr bwMode="auto">
              <a:xfrm>
                <a:off x="4557" y="1379"/>
                <a:ext cx="138" cy="228"/>
              </a:xfrm>
              <a:prstGeom prst="rect">
                <a:avLst/>
              </a:prstGeom>
              <a:noFill/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29" name="Line 38"/>
              <p:cNvSpPr>
                <a:spLocks noChangeShapeType="1"/>
              </p:cNvSpPr>
              <p:nvPr/>
            </p:nvSpPr>
            <p:spPr bwMode="auto">
              <a:xfrm>
                <a:off x="4551" y="1547"/>
                <a:ext cx="144" cy="1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0" name="Rectangle 39"/>
              <p:cNvSpPr>
                <a:spLocks noChangeArrowheads="1"/>
              </p:cNvSpPr>
              <p:nvPr/>
            </p:nvSpPr>
            <p:spPr bwMode="auto">
              <a:xfrm>
                <a:off x="4593" y="1553"/>
                <a:ext cx="66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1" name="Rectangle 40"/>
              <p:cNvSpPr>
                <a:spLocks noChangeArrowheads="1"/>
              </p:cNvSpPr>
              <p:nvPr/>
            </p:nvSpPr>
            <p:spPr bwMode="auto">
              <a:xfrm>
                <a:off x="4605" y="1583"/>
                <a:ext cx="42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2" name="Rectangle 41"/>
              <p:cNvSpPr>
                <a:spLocks noChangeArrowheads="1"/>
              </p:cNvSpPr>
              <p:nvPr/>
            </p:nvSpPr>
            <p:spPr bwMode="auto">
              <a:xfrm>
                <a:off x="4515" y="1763"/>
                <a:ext cx="210" cy="120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25221E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3" name="Rectangle 42"/>
              <p:cNvSpPr>
                <a:spLocks noChangeArrowheads="1"/>
              </p:cNvSpPr>
              <p:nvPr/>
            </p:nvSpPr>
            <p:spPr bwMode="auto">
              <a:xfrm>
                <a:off x="4383" y="1331"/>
                <a:ext cx="966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4" name="Rectangle 43"/>
              <p:cNvSpPr>
                <a:spLocks noChangeArrowheads="1"/>
              </p:cNvSpPr>
              <p:nvPr/>
            </p:nvSpPr>
            <p:spPr bwMode="auto">
              <a:xfrm>
                <a:off x="4383" y="1637"/>
                <a:ext cx="966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5" name="Rectangle 44"/>
              <p:cNvSpPr>
                <a:spLocks noChangeArrowheads="1"/>
              </p:cNvSpPr>
              <p:nvPr/>
            </p:nvSpPr>
            <p:spPr bwMode="auto">
              <a:xfrm>
                <a:off x="4383" y="1943"/>
                <a:ext cx="966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6" name="Rectangle 45"/>
              <p:cNvSpPr>
                <a:spLocks noChangeArrowheads="1"/>
              </p:cNvSpPr>
              <p:nvPr/>
            </p:nvSpPr>
            <p:spPr bwMode="auto">
              <a:xfrm>
                <a:off x="4377" y="1283"/>
                <a:ext cx="12" cy="720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37" name="Rectangle 46"/>
              <p:cNvSpPr>
                <a:spLocks noChangeArrowheads="1"/>
              </p:cNvSpPr>
              <p:nvPr/>
            </p:nvSpPr>
            <p:spPr bwMode="auto">
              <a:xfrm>
                <a:off x="5343" y="1283"/>
                <a:ext cx="12" cy="720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</p:grpSp>
      </p:grpSp>
      <p:grpSp>
        <p:nvGrpSpPr>
          <p:cNvPr id="38" name="Gruppieren 85"/>
          <p:cNvGrpSpPr/>
          <p:nvPr/>
        </p:nvGrpSpPr>
        <p:grpSpPr>
          <a:xfrm>
            <a:off x="4793828" y="3646394"/>
            <a:ext cx="2154436" cy="550142"/>
            <a:chOff x="4799280" y="5013176"/>
            <a:chExt cx="2872581" cy="733522"/>
          </a:xfrm>
        </p:grpSpPr>
        <p:sp>
          <p:nvSpPr>
            <p:cNvPr id="39" name="Rectangle 48"/>
            <p:cNvSpPr>
              <a:spLocks noChangeArrowheads="1"/>
            </p:cNvSpPr>
            <p:nvPr/>
          </p:nvSpPr>
          <p:spPr bwMode="auto">
            <a:xfrm>
              <a:off x="4799280" y="5013176"/>
              <a:ext cx="287258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545795" eaLnBrk="0" hangingPunct="0"/>
              <a:r>
                <a:rPr lang="de-DE" sz="1050" dirty="0">
                  <a:solidFill>
                    <a:srgbClr val="000000"/>
                  </a:solidFill>
                </a:rPr>
                <a:t>Maßnahmen im Falle eines Unfalles</a:t>
              </a:r>
              <a:endParaRPr lang="de-DE" sz="1050" dirty="0">
                <a:solidFill>
                  <a:schemeClr val="tx2"/>
                </a:solidFill>
                <a:latin typeface="Times New Roman" pitchFamily="18" charset="0"/>
              </a:endParaRPr>
            </a:p>
          </p:txBody>
        </p:sp>
        <p:grpSp>
          <p:nvGrpSpPr>
            <p:cNvPr id="40" name="Group 49"/>
            <p:cNvGrpSpPr>
              <a:grpSpLocks/>
            </p:cNvGrpSpPr>
            <p:nvPr/>
          </p:nvGrpSpPr>
          <p:grpSpPr bwMode="auto">
            <a:xfrm>
              <a:off x="5337102" y="5324669"/>
              <a:ext cx="1337367" cy="422029"/>
              <a:chOff x="879" y="2831"/>
              <a:chExt cx="1476" cy="426"/>
            </a:xfrm>
          </p:grpSpPr>
          <p:sp>
            <p:nvSpPr>
              <p:cNvPr id="41" name="Freeform 50"/>
              <p:cNvSpPr>
                <a:spLocks/>
              </p:cNvSpPr>
              <p:nvPr/>
            </p:nvSpPr>
            <p:spPr bwMode="auto">
              <a:xfrm>
                <a:off x="1281" y="3233"/>
                <a:ext cx="48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8" y="1"/>
                  </a:cxn>
                  <a:cxn ang="0">
                    <a:pos x="8" y="0"/>
                  </a:cxn>
                </a:cxnLst>
                <a:rect l="0" t="0" r="r" b="b"/>
                <a:pathLst>
                  <a:path w="8" h="1">
                    <a:moveTo>
                      <a:pt x="0" y="1"/>
                    </a:moveTo>
                    <a:lnTo>
                      <a:pt x="8" y="1"/>
                    </a:lnTo>
                    <a:cubicBezTo>
                      <a:pt x="3" y="1"/>
                      <a:pt x="6" y="1"/>
                      <a:pt x="8" y="0"/>
                    </a:cubicBezTo>
                  </a:path>
                </a:pathLst>
              </a:custGeom>
              <a:noFill/>
              <a:ln w="0">
                <a:solidFill>
                  <a:srgbClr val="25221E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2" name="Freeform 51"/>
              <p:cNvSpPr>
                <a:spLocks/>
              </p:cNvSpPr>
              <p:nvPr/>
            </p:nvSpPr>
            <p:spPr bwMode="auto">
              <a:xfrm>
                <a:off x="1257" y="3191"/>
                <a:ext cx="462" cy="66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0" y="6"/>
                  </a:cxn>
                  <a:cxn ang="0">
                    <a:pos x="1" y="7"/>
                  </a:cxn>
                  <a:cxn ang="0">
                    <a:pos x="1" y="7"/>
                  </a:cxn>
                  <a:cxn ang="0">
                    <a:pos x="1" y="8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3" y="9"/>
                  </a:cxn>
                  <a:cxn ang="0">
                    <a:pos x="53" y="9"/>
                  </a:cxn>
                  <a:cxn ang="0">
                    <a:pos x="77" y="9"/>
                  </a:cxn>
                  <a:cxn ang="0">
                    <a:pos x="77" y="7"/>
                  </a:cxn>
                  <a:cxn ang="0">
                    <a:pos x="76" y="7"/>
                  </a:cxn>
                  <a:cxn ang="0">
                    <a:pos x="72" y="7"/>
                  </a:cxn>
                  <a:cxn ang="0">
                    <a:pos x="72" y="7"/>
                  </a:cxn>
                  <a:cxn ang="0">
                    <a:pos x="57" y="7"/>
                  </a:cxn>
                  <a:cxn ang="0">
                    <a:pos x="37" y="7"/>
                  </a:cxn>
                  <a:cxn ang="0">
                    <a:pos x="33" y="5"/>
                  </a:cxn>
                  <a:cxn ang="0">
                    <a:pos x="22" y="5"/>
                  </a:cxn>
                  <a:cxn ang="0">
                    <a:pos x="21" y="4"/>
                  </a:cxn>
                  <a:cxn ang="0">
                    <a:pos x="3" y="3"/>
                  </a:cxn>
                </a:cxnLst>
                <a:rect l="0" t="0" r="r" b="b"/>
                <a:pathLst>
                  <a:path w="77" h="11">
                    <a:moveTo>
                      <a:pt x="3" y="3"/>
                    </a:moveTo>
                    <a:cubicBezTo>
                      <a:pt x="3" y="3"/>
                      <a:pt x="0" y="6"/>
                      <a:pt x="0" y="6"/>
                    </a:cubicBezTo>
                    <a:cubicBezTo>
                      <a:pt x="0" y="6"/>
                      <a:pt x="0" y="7"/>
                      <a:pt x="1" y="7"/>
                    </a:cubicBezTo>
                    <a:lnTo>
                      <a:pt x="1" y="7"/>
                    </a:lnTo>
                    <a:cubicBezTo>
                      <a:pt x="1" y="7"/>
                      <a:pt x="1" y="7"/>
                      <a:pt x="1" y="8"/>
                    </a:cubicBezTo>
                    <a:lnTo>
                      <a:pt x="2" y="8"/>
                    </a:lnTo>
                    <a:cubicBezTo>
                      <a:pt x="1" y="8"/>
                      <a:pt x="2" y="8"/>
                      <a:pt x="2" y="8"/>
                    </a:cubicBezTo>
                    <a:cubicBezTo>
                      <a:pt x="2" y="8"/>
                      <a:pt x="3" y="8"/>
                      <a:pt x="3" y="9"/>
                    </a:cubicBezTo>
                    <a:lnTo>
                      <a:pt x="53" y="9"/>
                    </a:lnTo>
                    <a:cubicBezTo>
                      <a:pt x="60" y="10"/>
                      <a:pt x="70" y="11"/>
                      <a:pt x="77" y="9"/>
                    </a:cubicBezTo>
                    <a:lnTo>
                      <a:pt x="77" y="7"/>
                    </a:lnTo>
                    <a:lnTo>
                      <a:pt x="76" y="7"/>
                    </a:lnTo>
                    <a:cubicBezTo>
                      <a:pt x="75" y="7"/>
                      <a:pt x="72" y="7"/>
                      <a:pt x="72" y="7"/>
                    </a:cubicBezTo>
                    <a:lnTo>
                      <a:pt x="72" y="7"/>
                    </a:lnTo>
                    <a:cubicBezTo>
                      <a:pt x="70" y="5"/>
                      <a:pt x="59" y="6"/>
                      <a:pt x="57" y="7"/>
                    </a:cubicBezTo>
                    <a:cubicBezTo>
                      <a:pt x="51" y="8"/>
                      <a:pt x="43" y="5"/>
                      <a:pt x="37" y="7"/>
                    </a:cubicBezTo>
                    <a:cubicBezTo>
                      <a:pt x="36" y="7"/>
                      <a:pt x="34" y="6"/>
                      <a:pt x="33" y="5"/>
                    </a:cubicBezTo>
                    <a:lnTo>
                      <a:pt x="22" y="5"/>
                    </a:lnTo>
                    <a:cubicBezTo>
                      <a:pt x="22" y="5"/>
                      <a:pt x="23" y="0"/>
                      <a:pt x="21" y="4"/>
                    </a:cubicBezTo>
                    <a:lnTo>
                      <a:pt x="3" y="3"/>
                    </a:lnTo>
                  </a:path>
                </a:pathLst>
              </a:custGeom>
              <a:solidFill>
                <a:srgbClr val="00AEC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3" name="Rectangle 52"/>
              <p:cNvSpPr>
                <a:spLocks noChangeArrowheads="1"/>
              </p:cNvSpPr>
              <p:nvPr/>
            </p:nvSpPr>
            <p:spPr bwMode="auto">
              <a:xfrm>
                <a:off x="879" y="3245"/>
                <a:ext cx="1476" cy="12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4" name="Freeform 53"/>
              <p:cNvSpPr>
                <a:spLocks/>
              </p:cNvSpPr>
              <p:nvPr/>
            </p:nvSpPr>
            <p:spPr bwMode="auto">
              <a:xfrm>
                <a:off x="1461" y="3209"/>
                <a:ext cx="102" cy="3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9" y="4"/>
                  </a:cxn>
                  <a:cxn ang="0">
                    <a:pos x="9" y="5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3" y="3"/>
                  </a:cxn>
                  <a:cxn ang="0">
                    <a:pos x="3" y="0"/>
                  </a:cxn>
                </a:cxnLst>
                <a:rect l="0" t="0" r="r" b="b"/>
                <a:pathLst>
                  <a:path w="17" h="5">
                    <a:moveTo>
                      <a:pt x="3" y="0"/>
                    </a:moveTo>
                    <a:cubicBezTo>
                      <a:pt x="4" y="1"/>
                      <a:pt x="5" y="3"/>
                      <a:pt x="6" y="3"/>
                    </a:cubicBezTo>
                    <a:cubicBezTo>
                      <a:pt x="6" y="3"/>
                      <a:pt x="6" y="3"/>
                      <a:pt x="7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9" y="4"/>
                      <a:pt x="9" y="4"/>
                      <a:pt x="9" y="5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1" y="5"/>
                      <a:pt x="12" y="4"/>
                      <a:pt x="13" y="4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7" y="3"/>
                      <a:pt x="0" y="1"/>
                      <a:pt x="3" y="0"/>
                    </a:cubicBezTo>
                  </a:path>
                </a:pathLst>
              </a:custGeom>
              <a:noFill/>
              <a:ln w="0">
                <a:solidFill>
                  <a:srgbClr val="25221E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5" name="Freeform 54"/>
              <p:cNvSpPr>
                <a:spLocks/>
              </p:cNvSpPr>
              <p:nvPr/>
            </p:nvSpPr>
            <p:spPr bwMode="auto">
              <a:xfrm>
                <a:off x="1407" y="3209"/>
                <a:ext cx="54" cy="30"/>
              </a:xfrm>
              <a:custGeom>
                <a:avLst/>
                <a:gdLst/>
                <a:ahLst/>
                <a:cxnLst>
                  <a:cxn ang="0">
                    <a:pos x="0" y="5"/>
                  </a:cxn>
                  <a:cxn ang="0">
                    <a:pos x="2" y="3"/>
                  </a:cxn>
                  <a:cxn ang="0">
                    <a:pos x="2" y="3"/>
                  </a:cxn>
                  <a:cxn ang="0">
                    <a:pos x="6" y="1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8" y="2"/>
                  </a:cxn>
                  <a:cxn ang="0">
                    <a:pos x="8" y="3"/>
                  </a:cxn>
                  <a:cxn ang="0">
                    <a:pos x="8" y="4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0" y="5"/>
                  </a:cxn>
                </a:cxnLst>
                <a:rect l="0" t="0" r="r" b="b"/>
                <a:pathLst>
                  <a:path w="9" h="5">
                    <a:moveTo>
                      <a:pt x="0" y="5"/>
                    </a:moveTo>
                    <a:cubicBezTo>
                      <a:pt x="0" y="5"/>
                      <a:pt x="2" y="3"/>
                      <a:pt x="2" y="3"/>
                    </a:cubicBezTo>
                    <a:lnTo>
                      <a:pt x="2" y="3"/>
                    </a:lnTo>
                    <a:cubicBezTo>
                      <a:pt x="3" y="3"/>
                      <a:pt x="5" y="0"/>
                      <a:pt x="6" y="1"/>
                    </a:cubicBezTo>
                    <a:lnTo>
                      <a:pt x="6" y="1"/>
                    </a:lnTo>
                    <a:lnTo>
                      <a:pt x="7" y="1"/>
                    </a:lnTo>
                    <a:cubicBezTo>
                      <a:pt x="7" y="2"/>
                      <a:pt x="7" y="2"/>
                      <a:pt x="8" y="2"/>
                    </a:cubicBezTo>
                    <a:lnTo>
                      <a:pt x="8" y="3"/>
                    </a:lnTo>
                    <a:cubicBezTo>
                      <a:pt x="8" y="3"/>
                      <a:pt x="8" y="4"/>
                      <a:pt x="8" y="4"/>
                    </a:cubicBezTo>
                    <a:cubicBezTo>
                      <a:pt x="9" y="4"/>
                      <a:pt x="9" y="5"/>
                      <a:pt x="9" y="5"/>
                    </a:cubicBezTo>
                    <a:lnTo>
                      <a:pt x="9" y="5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6" name="Freeform 55"/>
              <p:cNvSpPr>
                <a:spLocks/>
              </p:cNvSpPr>
              <p:nvPr/>
            </p:nvSpPr>
            <p:spPr bwMode="auto">
              <a:xfrm>
                <a:off x="1167" y="2831"/>
                <a:ext cx="360" cy="390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9" y="5"/>
                  </a:cxn>
                  <a:cxn ang="0">
                    <a:pos x="41" y="16"/>
                  </a:cxn>
                  <a:cxn ang="0">
                    <a:pos x="26" y="15"/>
                  </a:cxn>
                  <a:cxn ang="0">
                    <a:pos x="0" y="52"/>
                  </a:cxn>
                  <a:cxn ang="0">
                    <a:pos x="14" y="64"/>
                  </a:cxn>
                  <a:cxn ang="0">
                    <a:pos x="22" y="60"/>
                  </a:cxn>
                  <a:cxn ang="0">
                    <a:pos x="23" y="64"/>
                  </a:cxn>
                  <a:cxn ang="0">
                    <a:pos x="29" y="62"/>
                  </a:cxn>
                  <a:cxn ang="0">
                    <a:pos x="31" y="65"/>
                  </a:cxn>
                  <a:cxn ang="0">
                    <a:pos x="38" y="63"/>
                  </a:cxn>
                  <a:cxn ang="0">
                    <a:pos x="56" y="36"/>
                  </a:cxn>
                  <a:cxn ang="0">
                    <a:pos x="48" y="22"/>
                  </a:cxn>
                  <a:cxn ang="0">
                    <a:pos x="55" y="10"/>
                  </a:cxn>
                  <a:cxn ang="0">
                    <a:pos x="60" y="8"/>
                  </a:cxn>
                  <a:cxn ang="0">
                    <a:pos x="48" y="0"/>
                  </a:cxn>
                </a:cxnLst>
                <a:rect l="0" t="0" r="r" b="b"/>
                <a:pathLst>
                  <a:path w="60" h="65">
                    <a:moveTo>
                      <a:pt x="48" y="0"/>
                    </a:moveTo>
                    <a:lnTo>
                      <a:pt x="49" y="5"/>
                    </a:lnTo>
                    <a:lnTo>
                      <a:pt x="41" y="16"/>
                    </a:lnTo>
                    <a:lnTo>
                      <a:pt x="26" y="15"/>
                    </a:lnTo>
                    <a:lnTo>
                      <a:pt x="0" y="52"/>
                    </a:lnTo>
                    <a:lnTo>
                      <a:pt x="14" y="64"/>
                    </a:lnTo>
                    <a:lnTo>
                      <a:pt x="22" y="60"/>
                    </a:lnTo>
                    <a:lnTo>
                      <a:pt x="23" y="64"/>
                    </a:lnTo>
                    <a:lnTo>
                      <a:pt x="29" y="62"/>
                    </a:lnTo>
                    <a:lnTo>
                      <a:pt x="31" y="65"/>
                    </a:lnTo>
                    <a:lnTo>
                      <a:pt x="38" y="63"/>
                    </a:lnTo>
                    <a:lnTo>
                      <a:pt x="56" y="36"/>
                    </a:lnTo>
                    <a:lnTo>
                      <a:pt x="48" y="22"/>
                    </a:lnTo>
                    <a:lnTo>
                      <a:pt x="55" y="10"/>
                    </a:lnTo>
                    <a:lnTo>
                      <a:pt x="60" y="8"/>
                    </a:lnTo>
                    <a:lnTo>
                      <a:pt x="48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7" name="Line 56"/>
              <p:cNvSpPr>
                <a:spLocks noChangeShapeType="1"/>
              </p:cNvSpPr>
              <p:nvPr/>
            </p:nvSpPr>
            <p:spPr bwMode="auto">
              <a:xfrm>
                <a:off x="1413" y="2927"/>
                <a:ext cx="42" cy="3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8" name="Line 57"/>
              <p:cNvSpPr>
                <a:spLocks noChangeShapeType="1"/>
              </p:cNvSpPr>
              <p:nvPr/>
            </p:nvSpPr>
            <p:spPr bwMode="auto">
              <a:xfrm>
                <a:off x="1455" y="2861"/>
                <a:ext cx="42" cy="3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49" name="Line 58"/>
              <p:cNvSpPr>
                <a:spLocks noChangeShapeType="1"/>
              </p:cNvSpPr>
              <p:nvPr/>
            </p:nvSpPr>
            <p:spPr bwMode="auto">
              <a:xfrm>
                <a:off x="1323" y="2915"/>
                <a:ext cx="174" cy="132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0" name="Freeform 59"/>
              <p:cNvSpPr>
                <a:spLocks/>
              </p:cNvSpPr>
              <p:nvPr/>
            </p:nvSpPr>
            <p:spPr bwMode="auto">
              <a:xfrm>
                <a:off x="1599" y="3047"/>
                <a:ext cx="18" cy="1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3"/>
                  </a:cxn>
                  <a:cxn ang="0">
                    <a:pos x="2" y="13"/>
                  </a:cxn>
                  <a:cxn ang="0">
                    <a:pos x="0" y="25"/>
                  </a:cxn>
                  <a:cxn ang="0">
                    <a:pos x="0" y="26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5"/>
                      <a:pt x="0" y="9"/>
                      <a:pt x="1" y="13"/>
                    </a:cubicBezTo>
                    <a:lnTo>
                      <a:pt x="2" y="13"/>
                    </a:lnTo>
                    <a:cubicBezTo>
                      <a:pt x="2" y="15"/>
                      <a:pt x="3" y="25"/>
                      <a:pt x="0" y="25"/>
                    </a:cubicBezTo>
                    <a:cubicBezTo>
                      <a:pt x="0" y="25"/>
                      <a:pt x="0" y="26"/>
                      <a:pt x="0" y="26"/>
                    </a:cubicBezTo>
                  </a:path>
                </a:pathLst>
              </a:custGeom>
              <a:noFill/>
              <a:ln w="0">
                <a:solidFill>
                  <a:srgbClr val="ACDB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1" name="Freeform 60"/>
              <p:cNvSpPr>
                <a:spLocks/>
              </p:cNvSpPr>
              <p:nvPr/>
            </p:nvSpPr>
            <p:spPr bwMode="auto">
              <a:xfrm>
                <a:off x="1635" y="2987"/>
                <a:ext cx="18" cy="1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0" y="24"/>
                  </a:cxn>
                  <a:cxn ang="0">
                    <a:pos x="0" y="26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4"/>
                      <a:pt x="0" y="9"/>
                      <a:pt x="2" y="13"/>
                    </a:cubicBezTo>
                    <a:lnTo>
                      <a:pt x="2" y="13"/>
                    </a:lnTo>
                    <a:cubicBezTo>
                      <a:pt x="2" y="14"/>
                      <a:pt x="3" y="24"/>
                      <a:pt x="0" y="24"/>
                    </a:cubicBezTo>
                    <a:cubicBezTo>
                      <a:pt x="0" y="25"/>
                      <a:pt x="0" y="26"/>
                      <a:pt x="0" y="26"/>
                    </a:cubicBezTo>
                  </a:path>
                </a:pathLst>
              </a:custGeom>
              <a:noFill/>
              <a:ln w="0">
                <a:solidFill>
                  <a:srgbClr val="ACDB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2" name="Freeform 61"/>
              <p:cNvSpPr>
                <a:spLocks/>
              </p:cNvSpPr>
              <p:nvPr/>
            </p:nvSpPr>
            <p:spPr bwMode="auto">
              <a:xfrm>
                <a:off x="1551" y="2975"/>
                <a:ext cx="18" cy="15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13"/>
                  </a:cxn>
                  <a:cxn ang="0">
                    <a:pos x="2" y="13"/>
                  </a:cxn>
                  <a:cxn ang="0">
                    <a:pos x="1" y="25"/>
                  </a:cxn>
                  <a:cxn ang="0">
                    <a:pos x="0" y="26"/>
                  </a:cxn>
                </a:cxnLst>
                <a:rect l="0" t="0" r="r" b="b"/>
                <a:pathLst>
                  <a:path w="3" h="26">
                    <a:moveTo>
                      <a:pt x="1" y="0"/>
                    </a:moveTo>
                    <a:cubicBezTo>
                      <a:pt x="1" y="5"/>
                      <a:pt x="0" y="9"/>
                      <a:pt x="2" y="13"/>
                    </a:cubicBezTo>
                    <a:lnTo>
                      <a:pt x="2" y="13"/>
                    </a:lnTo>
                    <a:cubicBezTo>
                      <a:pt x="2" y="14"/>
                      <a:pt x="3" y="25"/>
                      <a:pt x="1" y="25"/>
                    </a:cubicBezTo>
                    <a:cubicBezTo>
                      <a:pt x="1" y="25"/>
                      <a:pt x="1" y="26"/>
                      <a:pt x="0" y="26"/>
                    </a:cubicBezTo>
                  </a:path>
                </a:pathLst>
              </a:custGeom>
              <a:noFill/>
              <a:ln w="0">
                <a:solidFill>
                  <a:srgbClr val="ACDB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3" name="Freeform 62"/>
              <p:cNvSpPr>
                <a:spLocks/>
              </p:cNvSpPr>
              <p:nvPr/>
            </p:nvSpPr>
            <p:spPr bwMode="auto">
              <a:xfrm>
                <a:off x="1677" y="3041"/>
                <a:ext cx="18" cy="15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0" y="25"/>
                  </a:cxn>
                  <a:cxn ang="0">
                    <a:pos x="0" y="26"/>
                  </a:cxn>
                </a:cxnLst>
                <a:rect l="0" t="0" r="r" b="b"/>
                <a:pathLst>
                  <a:path w="3" h="26">
                    <a:moveTo>
                      <a:pt x="0" y="0"/>
                    </a:moveTo>
                    <a:cubicBezTo>
                      <a:pt x="0" y="5"/>
                      <a:pt x="0" y="9"/>
                      <a:pt x="1" y="13"/>
                    </a:cubicBezTo>
                    <a:lnTo>
                      <a:pt x="1" y="13"/>
                    </a:lnTo>
                    <a:cubicBezTo>
                      <a:pt x="1" y="15"/>
                      <a:pt x="3" y="25"/>
                      <a:pt x="0" y="25"/>
                    </a:cubicBezTo>
                    <a:cubicBezTo>
                      <a:pt x="0" y="25"/>
                      <a:pt x="0" y="26"/>
                      <a:pt x="0" y="26"/>
                    </a:cubicBezTo>
                  </a:path>
                </a:pathLst>
              </a:custGeom>
              <a:noFill/>
              <a:ln w="0">
                <a:solidFill>
                  <a:srgbClr val="ACDB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pic>
            <p:nvPicPr>
              <p:cNvPr id="54" name="Picture 63"/>
              <p:cNvPicPr>
                <a:picLocks noChangeAspect="1" noChangeArrowheads="1"/>
              </p:cNvPicPr>
              <p:nvPr/>
            </p:nvPicPr>
            <p:blipFill>
              <a:blip r:embed="rId15"/>
              <a:srcRect/>
              <a:stretch>
                <a:fillRect/>
              </a:stretch>
            </p:blipFill>
            <p:spPr bwMode="auto">
              <a:xfrm>
                <a:off x="1275" y="2999"/>
                <a:ext cx="162" cy="1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" name="Freeform 64"/>
              <p:cNvSpPr>
                <a:spLocks/>
              </p:cNvSpPr>
              <p:nvPr/>
            </p:nvSpPr>
            <p:spPr bwMode="auto">
              <a:xfrm>
                <a:off x="1419" y="3053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6" y="6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6" name="Freeform 65"/>
              <p:cNvSpPr>
                <a:spLocks/>
              </p:cNvSpPr>
              <p:nvPr/>
            </p:nvSpPr>
            <p:spPr bwMode="auto">
              <a:xfrm>
                <a:off x="1311" y="3041"/>
                <a:ext cx="96" cy="54"/>
              </a:xfrm>
              <a:custGeom>
                <a:avLst/>
                <a:gdLst/>
                <a:ahLst/>
                <a:cxnLst>
                  <a:cxn ang="0">
                    <a:pos x="90" y="0"/>
                  </a:cxn>
                  <a:cxn ang="0">
                    <a:pos x="0" y="18"/>
                  </a:cxn>
                  <a:cxn ang="0">
                    <a:pos x="6" y="54"/>
                  </a:cxn>
                  <a:cxn ang="0">
                    <a:pos x="96" y="42"/>
                  </a:cxn>
                  <a:cxn ang="0">
                    <a:pos x="90" y="0"/>
                  </a:cxn>
                </a:cxnLst>
                <a:rect l="0" t="0" r="r" b="b"/>
                <a:pathLst>
                  <a:path w="96" h="54">
                    <a:moveTo>
                      <a:pt x="90" y="0"/>
                    </a:moveTo>
                    <a:lnTo>
                      <a:pt x="0" y="18"/>
                    </a:lnTo>
                    <a:lnTo>
                      <a:pt x="6" y="54"/>
                    </a:lnTo>
                    <a:lnTo>
                      <a:pt x="96" y="42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7" name="Freeform 66"/>
              <p:cNvSpPr>
                <a:spLocks/>
              </p:cNvSpPr>
              <p:nvPr/>
            </p:nvSpPr>
            <p:spPr bwMode="auto">
              <a:xfrm>
                <a:off x="1329" y="3023"/>
                <a:ext cx="60" cy="96"/>
              </a:xfrm>
              <a:custGeom>
                <a:avLst/>
                <a:gdLst/>
                <a:ahLst/>
                <a:cxnLst>
                  <a:cxn ang="0">
                    <a:pos x="60" y="90"/>
                  </a:cxn>
                  <a:cxn ang="0">
                    <a:pos x="42" y="0"/>
                  </a:cxn>
                  <a:cxn ang="0">
                    <a:pos x="0" y="6"/>
                  </a:cxn>
                  <a:cxn ang="0">
                    <a:pos x="18" y="96"/>
                  </a:cxn>
                  <a:cxn ang="0">
                    <a:pos x="60" y="90"/>
                  </a:cxn>
                </a:cxnLst>
                <a:rect l="0" t="0" r="r" b="b"/>
                <a:pathLst>
                  <a:path w="60" h="96">
                    <a:moveTo>
                      <a:pt x="60" y="90"/>
                    </a:moveTo>
                    <a:lnTo>
                      <a:pt x="42" y="0"/>
                    </a:lnTo>
                    <a:lnTo>
                      <a:pt x="0" y="6"/>
                    </a:lnTo>
                    <a:lnTo>
                      <a:pt x="18" y="96"/>
                    </a:lnTo>
                    <a:lnTo>
                      <a:pt x="60" y="9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8" name="Freeform 67"/>
              <p:cNvSpPr>
                <a:spLocks/>
              </p:cNvSpPr>
              <p:nvPr/>
            </p:nvSpPr>
            <p:spPr bwMode="auto">
              <a:xfrm>
                <a:off x="1257" y="3095"/>
                <a:ext cx="108" cy="9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8" y="9"/>
                  </a:cxn>
                  <a:cxn ang="0">
                    <a:pos x="14" y="15"/>
                  </a:cxn>
                  <a:cxn ang="0">
                    <a:pos x="0" y="5"/>
                  </a:cxn>
                  <a:cxn ang="0">
                    <a:pos x="4" y="0"/>
                  </a:cxn>
                </a:cxnLst>
                <a:rect l="0" t="0" r="r" b="b"/>
                <a:pathLst>
                  <a:path w="18" h="15">
                    <a:moveTo>
                      <a:pt x="4" y="0"/>
                    </a:moveTo>
                    <a:lnTo>
                      <a:pt x="18" y="9"/>
                    </a:lnTo>
                    <a:lnTo>
                      <a:pt x="14" y="15"/>
                    </a:lnTo>
                    <a:lnTo>
                      <a:pt x="0" y="5"/>
                    </a:lnTo>
                    <a:lnTo>
                      <a:pt x="4" y="0"/>
                    </a:ln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59" name="Freeform 68"/>
              <p:cNvSpPr>
                <a:spLocks/>
              </p:cNvSpPr>
              <p:nvPr/>
            </p:nvSpPr>
            <p:spPr bwMode="auto">
              <a:xfrm>
                <a:off x="1257" y="2993"/>
                <a:ext cx="174" cy="192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29" y="10"/>
                  </a:cxn>
                  <a:cxn ang="0">
                    <a:pos x="14" y="32"/>
                  </a:cxn>
                  <a:cxn ang="0">
                    <a:pos x="0" y="23"/>
                  </a:cxn>
                  <a:cxn ang="0">
                    <a:pos x="16" y="0"/>
                  </a:cxn>
                </a:cxnLst>
                <a:rect l="0" t="0" r="r" b="b"/>
                <a:pathLst>
                  <a:path w="29" h="32">
                    <a:moveTo>
                      <a:pt x="16" y="0"/>
                    </a:moveTo>
                    <a:lnTo>
                      <a:pt x="29" y="10"/>
                    </a:lnTo>
                    <a:lnTo>
                      <a:pt x="14" y="32"/>
                    </a:lnTo>
                    <a:lnTo>
                      <a:pt x="0" y="23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60" name="Line 69"/>
              <p:cNvSpPr>
                <a:spLocks noChangeShapeType="1"/>
              </p:cNvSpPr>
              <p:nvPr/>
            </p:nvSpPr>
            <p:spPr bwMode="auto">
              <a:xfrm>
                <a:off x="1281" y="3089"/>
                <a:ext cx="84" cy="6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61" name="Freeform 70"/>
              <p:cNvSpPr>
                <a:spLocks/>
              </p:cNvSpPr>
              <p:nvPr/>
            </p:nvSpPr>
            <p:spPr bwMode="auto">
              <a:xfrm>
                <a:off x="1299" y="3113"/>
                <a:ext cx="42" cy="3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0"/>
                  </a:cxn>
                  <a:cxn ang="0">
                    <a:pos x="42" y="24"/>
                  </a:cxn>
                  <a:cxn ang="0">
                    <a:pos x="36" y="30"/>
                  </a:cxn>
                  <a:cxn ang="0">
                    <a:pos x="0" y="6"/>
                  </a:cxn>
                </a:cxnLst>
                <a:rect l="0" t="0" r="r" b="b"/>
                <a:pathLst>
                  <a:path w="42" h="30">
                    <a:moveTo>
                      <a:pt x="0" y="6"/>
                    </a:moveTo>
                    <a:lnTo>
                      <a:pt x="6" y="0"/>
                    </a:lnTo>
                    <a:lnTo>
                      <a:pt x="42" y="24"/>
                    </a:lnTo>
                    <a:lnTo>
                      <a:pt x="36" y="3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  <p:sp>
            <p:nvSpPr>
              <p:cNvPr id="62" name="Freeform 71"/>
              <p:cNvSpPr>
                <a:spLocks/>
              </p:cNvSpPr>
              <p:nvPr/>
            </p:nvSpPr>
            <p:spPr bwMode="auto">
              <a:xfrm>
                <a:off x="1293" y="3137"/>
                <a:ext cx="30" cy="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30" y="18"/>
                  </a:cxn>
                  <a:cxn ang="0">
                    <a:pos x="24" y="18"/>
                  </a:cxn>
                  <a:cxn ang="0">
                    <a:pos x="0" y="0"/>
                  </a:cxn>
                </a:cxnLst>
                <a:rect l="0" t="0" r="r" b="b"/>
                <a:pathLst>
                  <a:path w="30" h="18">
                    <a:moveTo>
                      <a:pt x="0" y="0"/>
                    </a:moveTo>
                    <a:lnTo>
                      <a:pt x="6" y="0"/>
                    </a:lnTo>
                    <a:lnTo>
                      <a:pt x="30" y="18"/>
                    </a:lnTo>
                    <a:lnTo>
                      <a:pt x="24" y="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35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40147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289" y="1203598"/>
            <a:ext cx="8353425" cy="2808287"/>
          </a:xfrm>
        </p:spPr>
        <p:txBody>
          <a:bodyPr/>
          <a:lstStyle/>
          <a:p>
            <a:r>
              <a:rPr lang="de-DE" dirty="0" smtClean="0"/>
              <a:t>Verordnung zur Einstufung, Kennzeichnung und Verpackung (CLP-Verordnung)</a:t>
            </a:r>
          </a:p>
          <a:p>
            <a:pPr lvl="1"/>
            <a:r>
              <a:rPr lang="de-DE" dirty="0" smtClean="0"/>
              <a:t>Ende der letzten Übergangsfrist: Mitte 2017</a:t>
            </a:r>
          </a:p>
          <a:p>
            <a:r>
              <a:rPr lang="de-DE" dirty="0" smtClean="0"/>
              <a:t>Unter REACh befinden sich derzeit unter anderem:</a:t>
            </a:r>
          </a:p>
          <a:p>
            <a:pPr lvl="1"/>
            <a:r>
              <a:rPr lang="de-DE" dirty="0" smtClean="0"/>
              <a:t>&gt; 350 Stoffe auf der CoRAP-Liste (Stoffbewertung)</a:t>
            </a:r>
          </a:p>
          <a:p>
            <a:pPr lvl="1"/>
            <a:r>
              <a:rPr lang="de-DE" dirty="0" smtClean="0"/>
              <a:t>&gt; 300 Stoffe mit vorgeschlagener harmonisierter Einstufung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stufungen im Wand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Right Arrow 6"/>
          <p:cNvSpPr/>
          <p:nvPr/>
        </p:nvSpPr>
        <p:spPr>
          <a:xfrm>
            <a:off x="1907704" y="3363838"/>
            <a:ext cx="936104" cy="792088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15816" y="3363838"/>
            <a:ext cx="2736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Die Einstufung von Stoffen ist </a:t>
            </a:r>
            <a:r>
              <a:rPr lang="de-DE" u="sng" dirty="0" smtClean="0"/>
              <a:t>nicht</a:t>
            </a:r>
            <a:r>
              <a:rPr lang="de-DE" dirty="0" smtClean="0"/>
              <a:t> entgültig!</a:t>
            </a:r>
            <a:endParaRPr lang="de-DE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350485" y="4551970"/>
            <a:ext cx="2001935" cy="112830"/>
          </a:xfrm>
        </p:spPr>
        <p:txBody>
          <a:bodyPr/>
          <a:lstStyle/>
          <a:p>
            <a:r>
              <a:rPr lang="en-US" noProof="0" dirty="0" smtClean="0"/>
              <a:t>26 </a:t>
            </a:r>
            <a:r>
              <a:rPr lang="en-US" noProof="0" dirty="0" err="1" smtClean="0"/>
              <a:t>Januar</a:t>
            </a:r>
            <a:r>
              <a:rPr lang="en-US" noProof="0" dirty="0" smtClean="0"/>
              <a:t> 2017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81614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9629287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9467" y="2452370"/>
            <a:ext cx="4320665" cy="1991042"/>
          </a:xfrm>
          <a:prstGeom prst="rect">
            <a:avLst/>
          </a:prstGeom>
        </p:spPr>
        <p:txBody>
          <a:bodyPr vert="horz" lIns="0" tIns="13500" rIns="0" bIns="13500" rtlCol="0">
            <a:normAutofit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Auf Grundlage der Risikoabschätzung werden Schutzmaßnahmen definiert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Technische Maßnahme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Organisatorische Maßnahme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Persönliche Schutzausrüstung</a:t>
            </a:r>
          </a:p>
        </p:txBody>
      </p:sp>
      <p:pic>
        <p:nvPicPr>
          <p:cNvPr id="11" name="Picture 14" descr="GEBO_01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395884" y="2715766"/>
            <a:ext cx="660509" cy="715861"/>
          </a:xfrm>
          <a:prstGeom prst="rect">
            <a:avLst/>
          </a:prstGeom>
          <a:noFill/>
        </p:spPr>
      </p:pic>
      <p:pic>
        <p:nvPicPr>
          <p:cNvPr id="12" name="Picture 15" descr="GEBO_003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940450" y="3579862"/>
            <a:ext cx="660509" cy="715861"/>
          </a:xfrm>
          <a:prstGeom prst="rect">
            <a:avLst/>
          </a:prstGeom>
          <a:noFill/>
        </p:spPr>
      </p:pic>
      <p:pic>
        <p:nvPicPr>
          <p:cNvPr id="13" name="Picture 16" descr="GEBO_004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860663" y="3579862"/>
            <a:ext cx="660509" cy="7158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15392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3465535"/>
              </p:ext>
            </p:extLst>
          </p:nvPr>
        </p:nvGraphicFramePr>
        <p:xfrm>
          <a:off x="1439466" y="815839"/>
          <a:ext cx="6265069" cy="917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Inhaltsplatzhalter 8"/>
          <p:cNvGraphicFramePr>
            <a:graphicFrameLocks/>
          </p:cNvGraphicFramePr>
          <p:nvPr/>
        </p:nvGraphicFramePr>
        <p:xfrm>
          <a:off x="2187737" y="1613353"/>
          <a:ext cx="4752714" cy="8032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Inhaltsplatzhalt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439467" y="2452370"/>
            <a:ext cx="4320665" cy="1991042"/>
          </a:xfrm>
          <a:prstGeom prst="rect">
            <a:avLst/>
          </a:prstGeom>
        </p:spPr>
        <p:txBody>
          <a:bodyPr vert="horz" lIns="0" tIns="13500" rIns="0" bIns="13500" rtlCol="0">
            <a:normAutofit lnSpcReduction="10000"/>
          </a:bodyPr>
          <a:lstStyle/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Das Ergebnis der Gefährdungsbeurteilung muss dokumentiert werden</a:t>
            </a:r>
          </a:p>
          <a:p>
            <a:pPr marL="406004" lvl="1" indent="-138113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350" b="1" dirty="0"/>
              <a:t>„Nur eine dokumentierte Gefährdungs-</a:t>
            </a:r>
            <a:r>
              <a:rPr lang="de-DE" sz="1350" b="1" dirty="0" err="1"/>
              <a:t>beurteilung</a:t>
            </a:r>
            <a:r>
              <a:rPr lang="de-DE" sz="1350" b="1" dirty="0"/>
              <a:t> wurde durchgeführt!!“</a:t>
            </a:r>
          </a:p>
          <a:p>
            <a:pPr marL="133350" indent="-133350">
              <a:lnSpc>
                <a:spcPct val="150000"/>
              </a:lnSpc>
              <a:buClr>
                <a:srgbClr val="FFA500"/>
              </a:buClr>
              <a:buSzPts val="2000"/>
              <a:buFont typeface="Arial"/>
              <a:buChar char="›"/>
            </a:pPr>
            <a:r>
              <a:rPr lang="de-DE" sz="1500" dirty="0"/>
              <a:t>Ein Ergebnis der Dokumentation ist die „Betriebsanweisung“</a:t>
            </a:r>
          </a:p>
        </p:txBody>
      </p:sp>
      <p:pic>
        <p:nvPicPr>
          <p:cNvPr id="11" name="Grafik 10" descr="WOIN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017504">
            <a:off x="6994138" y="2261823"/>
            <a:ext cx="1323821" cy="186235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 rot="1005322">
            <a:off x="7261201" y="2557348"/>
            <a:ext cx="1157438" cy="896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0875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22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004" y="555526"/>
            <a:ext cx="5341993" cy="3205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4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487" y="1558458"/>
            <a:ext cx="7233027" cy="2050434"/>
          </a:xfrm>
          <a:ln w="19050">
            <a:solidFill>
              <a:schemeClr val="accent1"/>
            </a:solidFill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Verordnung zum Schutz vor Gefahrstoffen</a:t>
            </a:r>
            <a:br>
              <a:rPr lang="de-DE" smtClean="0"/>
            </a:br>
            <a:r>
              <a:rPr lang="de-DE" sz="1600" smtClean="0"/>
              <a:t>(Gefahrstoffverordnung – GefStoff)</a:t>
            </a:r>
            <a:endParaRPr lang="de-DE" sz="16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15953" y="3631218"/>
            <a:ext cx="671209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smtClean="0"/>
              <a:t>[Ausschnitt aus</a:t>
            </a:r>
            <a:r>
              <a:rPr lang="de-DE" sz="900" dirty="0"/>
              <a:t>: Verordnung zum Schutz vor </a:t>
            </a:r>
            <a:r>
              <a:rPr lang="de-DE" sz="900" dirty="0" smtClean="0"/>
              <a:t>Gefahrstoffen, Abschnitt 1, §1 Zielsetzung und Anwendungsbereich, Januar 2017] </a:t>
            </a:r>
            <a:endParaRPr lang="de-DE" sz="900" dirty="0"/>
          </a:p>
        </p:txBody>
      </p:sp>
      <p:sp>
        <p:nvSpPr>
          <p:cNvPr id="9" name="Right Arrow 8"/>
          <p:cNvSpPr/>
          <p:nvPr/>
        </p:nvSpPr>
        <p:spPr>
          <a:xfrm>
            <a:off x="179512" y="3085019"/>
            <a:ext cx="709479" cy="526812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0" name="Right Arrow 9"/>
          <p:cNvSpPr/>
          <p:nvPr/>
        </p:nvSpPr>
        <p:spPr>
          <a:xfrm rot="10800000">
            <a:off x="8255010" y="3085175"/>
            <a:ext cx="709479" cy="526812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9241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5289" y="303213"/>
            <a:ext cx="8497191" cy="720725"/>
          </a:xfrm>
        </p:spPr>
        <p:txBody>
          <a:bodyPr/>
          <a:lstStyle/>
          <a:p>
            <a:r>
              <a:rPr lang="de-DE" dirty="0" smtClean="0"/>
              <a:t>Grundlage im Arbeitsschutz: Die Gefährdungsbeurteilung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95289" y="915566"/>
            <a:ext cx="8353425" cy="338437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b="1" dirty="0" smtClean="0"/>
              <a:t>Gefahrstoffverordnung:</a:t>
            </a:r>
          </a:p>
          <a:p>
            <a:r>
              <a:rPr lang="de-DE" b="1" dirty="0" smtClean="0"/>
              <a:t>§ </a:t>
            </a:r>
            <a:r>
              <a:rPr lang="de-DE" b="1" dirty="0"/>
              <a:t>6 Informationsermittlung und Gefährdungsbeurteilung</a:t>
            </a:r>
            <a:endParaRPr lang="de-DE" b="1" dirty="0" smtClean="0"/>
          </a:p>
          <a:p>
            <a:pPr marL="0" indent="0">
              <a:buNone/>
            </a:pPr>
            <a:r>
              <a:rPr lang="de-DE" dirty="0" smtClean="0"/>
              <a:t>	(</a:t>
            </a:r>
            <a:r>
              <a:rPr lang="de-DE" dirty="0"/>
              <a:t>1) </a:t>
            </a:r>
            <a:r>
              <a:rPr lang="de-DE" dirty="0" smtClean="0"/>
              <a:t>„Im </a:t>
            </a:r>
            <a:r>
              <a:rPr lang="de-DE" dirty="0"/>
              <a:t>Rahmen einer Gefährdungsbeurteilung </a:t>
            </a:r>
            <a:r>
              <a:rPr lang="de-DE" dirty="0" smtClean="0"/>
              <a:t>(…) </a:t>
            </a:r>
            <a:r>
              <a:rPr lang="de-DE" dirty="0"/>
              <a:t>hat der Arbeitgeber </a:t>
            </a:r>
            <a:r>
              <a:rPr lang="de-DE" dirty="0" smtClean="0"/>
              <a:t>	festzustellen, ob </a:t>
            </a:r>
            <a:r>
              <a:rPr lang="de-DE" dirty="0"/>
              <a:t>die Beschäftigten </a:t>
            </a:r>
            <a:r>
              <a:rPr lang="de-DE" dirty="0">
                <a:solidFill>
                  <a:srgbClr val="FF9E0D"/>
                </a:solidFill>
              </a:rPr>
              <a:t>Tätigkeiten mit Gefahrstoffen </a:t>
            </a:r>
            <a:r>
              <a:rPr lang="de-DE" dirty="0"/>
              <a:t>ausüben oder ob </a:t>
            </a:r>
            <a:r>
              <a:rPr lang="de-DE" dirty="0" smtClean="0"/>
              <a:t>	bei </a:t>
            </a:r>
            <a:r>
              <a:rPr lang="de-DE" dirty="0">
                <a:solidFill>
                  <a:srgbClr val="FFB340"/>
                </a:solidFill>
              </a:rPr>
              <a:t>Tätigkeiten </a:t>
            </a:r>
            <a:r>
              <a:rPr lang="de-DE" dirty="0">
                <a:solidFill>
                  <a:schemeClr val="accent1"/>
                </a:solidFill>
                <a:ea typeface="+mj-ea"/>
              </a:rPr>
              <a:t>Gefahrstoffe entstehen oder freigesetz</a:t>
            </a:r>
            <a:r>
              <a:rPr lang="de-DE" dirty="0">
                <a:solidFill>
                  <a:srgbClr val="FFB340"/>
                </a:solidFill>
              </a:rPr>
              <a:t>t</a:t>
            </a:r>
            <a:r>
              <a:rPr lang="de-DE" dirty="0"/>
              <a:t> werden </a:t>
            </a:r>
            <a:r>
              <a:rPr lang="de-DE" dirty="0" smtClean="0"/>
              <a:t>können (…) .“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r>
              <a:rPr lang="de-DE" b="1" dirty="0"/>
              <a:t>§ </a:t>
            </a:r>
            <a:r>
              <a:rPr lang="de-DE" b="1" dirty="0" smtClean="0"/>
              <a:t>7 Grundpflichten</a:t>
            </a:r>
            <a:endParaRPr lang="de-DE" b="1" dirty="0"/>
          </a:p>
          <a:p>
            <a:pPr marL="0" indent="0">
              <a:buNone/>
            </a:pPr>
            <a:r>
              <a:rPr lang="de-DE" dirty="0"/>
              <a:t>	(1) </a:t>
            </a:r>
            <a:r>
              <a:rPr lang="de-DE" dirty="0" smtClean="0"/>
              <a:t>„Der </a:t>
            </a:r>
            <a:r>
              <a:rPr lang="de-DE" dirty="0"/>
              <a:t>Arbeitgeber darf eine </a:t>
            </a:r>
            <a:r>
              <a:rPr lang="de-DE" dirty="0">
                <a:solidFill>
                  <a:srgbClr val="FF9E0D"/>
                </a:solidFill>
              </a:rPr>
              <a:t>Tätigkeit mit Gefahrstoffen</a:t>
            </a:r>
            <a:r>
              <a:rPr lang="de-DE" dirty="0"/>
              <a:t> erst aufnehmen lassen, 	nachdem eine Gefährdungsbeurteilung </a:t>
            </a:r>
            <a:r>
              <a:rPr lang="de-DE" dirty="0" smtClean="0"/>
              <a:t>(…) und </a:t>
            </a:r>
            <a:r>
              <a:rPr lang="de-DE" dirty="0"/>
              <a:t>die </a:t>
            </a:r>
            <a:r>
              <a:rPr lang="de-DE" dirty="0" smtClean="0"/>
              <a:t>erforderlichen Schutzmaßnahmen 	(…) ergriffen </a:t>
            </a:r>
            <a:r>
              <a:rPr lang="de-DE" dirty="0"/>
              <a:t>worden </a:t>
            </a:r>
            <a:r>
              <a:rPr lang="de-DE" dirty="0" smtClean="0"/>
              <a:t>sind.“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11" name="TextBox 10"/>
          <p:cNvSpPr txBox="1"/>
          <p:nvPr/>
        </p:nvSpPr>
        <p:spPr>
          <a:xfrm>
            <a:off x="1664795" y="2423088"/>
            <a:ext cx="5814412" cy="36933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de-DE" dirty="0" smtClean="0"/>
              <a:t>Es sind auch </a:t>
            </a:r>
            <a:r>
              <a:rPr lang="de-DE" dirty="0"/>
              <a:t>Produkte ohne Kennzeichnung zu prüfen</a:t>
            </a:r>
            <a:r>
              <a:rPr lang="de-DE" dirty="0" smtClean="0"/>
              <a:t>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6536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248143" y="1954145"/>
            <a:ext cx="4176711" cy="9682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 smtClean="0"/>
              <a:t>Er liefert Sicherheitsdatenblätter für Stoffe und Gemisch die gemäß den Kriterien der CLP-Verordnung als </a:t>
            </a:r>
            <a:r>
              <a:rPr lang="de-DE" dirty="0">
                <a:solidFill>
                  <a:schemeClr val="accent1"/>
                </a:solidFill>
                <a:ea typeface="+mj-ea"/>
              </a:rPr>
              <a:t>gefährlich</a:t>
            </a:r>
            <a:r>
              <a:rPr lang="de-DE" dirty="0" smtClean="0"/>
              <a:t> eingestuft sind.</a:t>
            </a:r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3193" y="303213"/>
            <a:ext cx="8353425" cy="720725"/>
          </a:xfrm>
        </p:spPr>
        <p:txBody>
          <a:bodyPr/>
          <a:lstStyle/>
          <a:p>
            <a:r>
              <a:rPr lang="de-DE" dirty="0" smtClean="0"/>
              <a:t>Zu Beginn: Informationsermittlung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915816" y="2856007"/>
            <a:ext cx="249940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[Artikel 31, Absatz 1 der REACh-Verordnung]</a:t>
            </a:r>
          </a:p>
          <a:p>
            <a:endParaRPr lang="de-DE" dirty="0"/>
          </a:p>
        </p:txBody>
      </p:sp>
      <p:sp>
        <p:nvSpPr>
          <p:cNvPr id="8" name="TextBox 7"/>
          <p:cNvSpPr txBox="1"/>
          <p:nvPr/>
        </p:nvSpPr>
        <p:spPr>
          <a:xfrm>
            <a:off x="284285" y="876077"/>
            <a:ext cx="3786614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/>
              <a:t>Unterstützung durch den Lieferant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5180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3193" y="303213"/>
            <a:ext cx="8353425" cy="720725"/>
          </a:xfrm>
        </p:spPr>
        <p:txBody>
          <a:bodyPr/>
          <a:lstStyle/>
          <a:p>
            <a:r>
              <a:rPr lang="de-DE" dirty="0" smtClean="0"/>
              <a:t>Zu Beginn: Informationsermittlung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6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284285" y="876077"/>
            <a:ext cx="3786614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/>
              <a:t>Unterstützung durch den Lieferanten</a:t>
            </a:r>
          </a:p>
          <a:p>
            <a:endParaRPr lang="de-DE" dirty="0"/>
          </a:p>
        </p:txBody>
      </p:sp>
      <p:sp>
        <p:nvSpPr>
          <p:cNvPr id="10" name="Cloud Callout 9"/>
          <p:cNvSpPr/>
          <p:nvPr/>
        </p:nvSpPr>
        <p:spPr>
          <a:xfrm>
            <a:off x="1851082" y="1474406"/>
            <a:ext cx="5397645" cy="2127076"/>
          </a:xfrm>
          <a:prstGeom prst="cloudCallou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bg2">
                    <a:lumMod val="10000"/>
                  </a:schemeClr>
                </a:solidFill>
              </a:rPr>
              <a:t>„Aber mein Produkt ist nicht als gefährlich gekennzeichnet?!“</a:t>
            </a:r>
          </a:p>
        </p:txBody>
      </p:sp>
    </p:spTree>
    <p:extLst>
      <p:ext uri="{BB962C8B-B14F-4D97-AF65-F5344CB8AC3E}">
        <p14:creationId xmlns:p14="http://schemas.microsoft.com/office/powerpoint/2010/main" val="3877009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84284" y="903947"/>
            <a:ext cx="8442333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Unterstützung durch den </a:t>
            </a:r>
            <a:r>
              <a:rPr lang="de-DE" sz="1600" b="1" dirty="0" smtClean="0"/>
              <a:t>Lieferanten</a:t>
            </a:r>
          </a:p>
          <a:p>
            <a:endParaRPr lang="de-DE" sz="1600" dirty="0" smtClean="0"/>
          </a:p>
          <a:p>
            <a:endParaRPr lang="de-DE" sz="1600" dirty="0"/>
          </a:p>
          <a:p>
            <a:endParaRPr lang="de-DE" sz="1600" dirty="0" smtClean="0"/>
          </a:p>
          <a:p>
            <a:r>
              <a:rPr lang="de-DE" sz="1600" b="1" dirty="0"/>
              <a:t>§ </a:t>
            </a:r>
            <a:r>
              <a:rPr lang="de-DE" sz="1600" b="1" dirty="0" smtClean="0"/>
              <a:t>6, Artikel (2) der GefStoffV</a:t>
            </a:r>
          </a:p>
          <a:p>
            <a:r>
              <a:rPr lang="de-DE" sz="1600" dirty="0" smtClean="0"/>
              <a:t>„ (…) Sofern die Verordnung (EG) Nr. 1907/2006 keine Informationspflicht vorsieht, hat </a:t>
            </a:r>
            <a:r>
              <a:rPr lang="de-DE" sz="1600" dirty="0"/>
              <a:t>der Lieferant dem Arbeitgeber auf </a:t>
            </a:r>
            <a:r>
              <a:rPr lang="de-DE" sz="1600" dirty="0">
                <a:solidFill>
                  <a:srgbClr val="FFB340"/>
                </a:solidFill>
              </a:rPr>
              <a:t>Anfrage</a:t>
            </a:r>
            <a:r>
              <a:rPr lang="de-DE" sz="1600" dirty="0"/>
              <a:t> die für die Gefährdungsbeurteilung notwendigen Informationen über die Gefahrstoffe zur Verfügung zu stellen</a:t>
            </a:r>
            <a:r>
              <a:rPr lang="de-DE" sz="1600" dirty="0" smtClean="0"/>
              <a:t>.“</a:t>
            </a:r>
            <a:endParaRPr lang="de-DE" sz="1600" dirty="0"/>
          </a:p>
          <a:p>
            <a:endParaRPr lang="de-DE" sz="1600" b="1" dirty="0" smtClean="0"/>
          </a:p>
          <a:p>
            <a:endParaRPr lang="de-DE" sz="1600" b="1" dirty="0"/>
          </a:p>
          <a:p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3193" y="303213"/>
            <a:ext cx="8353425" cy="720725"/>
          </a:xfrm>
        </p:spPr>
        <p:txBody>
          <a:bodyPr/>
          <a:lstStyle/>
          <a:p>
            <a:r>
              <a:rPr lang="de-DE" dirty="0" smtClean="0"/>
              <a:t>Zu Beginn: Informationsermittlung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256" y="114560"/>
            <a:ext cx="1698346" cy="20316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56" y="3068775"/>
            <a:ext cx="1186644" cy="1131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7367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84284" y="903947"/>
            <a:ext cx="84423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600" b="1" dirty="0" smtClean="0"/>
          </a:p>
          <a:p>
            <a:endParaRPr lang="de-DE" sz="1600" b="1" dirty="0"/>
          </a:p>
          <a:p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3193" y="303213"/>
            <a:ext cx="8353425" cy="720725"/>
          </a:xfrm>
        </p:spPr>
        <p:txBody>
          <a:bodyPr/>
          <a:lstStyle/>
          <a:p>
            <a:r>
              <a:rPr lang="de-DE" dirty="0" smtClean="0"/>
              <a:t>Informationen erhalten? Plausibilität prüfen!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Björn Stapel, © Continental AG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680835"/>
            <a:ext cx="3744416" cy="341829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373967" y="4081414"/>
            <a:ext cx="597845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 smtClean="0"/>
              <a:t>[Auszug: REACH-Info 5, Rechte und Pflichten des nachgeschalteten Anwenders </a:t>
            </a:r>
            <a:r>
              <a:rPr lang="de-DE" sz="700" dirty="0"/>
              <a:t>unter </a:t>
            </a:r>
            <a:r>
              <a:rPr lang="de-DE" sz="700" dirty="0" smtClean="0"/>
              <a:t>REACH, BAuA, April 2012]</a:t>
            </a:r>
            <a:endParaRPr lang="de-DE" sz="700" dirty="0"/>
          </a:p>
        </p:txBody>
      </p:sp>
    </p:spTree>
    <p:extLst>
      <p:ext uri="{BB962C8B-B14F-4D97-AF65-F5344CB8AC3E}">
        <p14:creationId xmlns:p14="http://schemas.microsoft.com/office/powerpoint/2010/main" val="17245070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efährdungsbeurteilung für Gefahrstoff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6 </a:t>
            </a:r>
            <a:r>
              <a:rPr lang="en-US" dirty="0" err="1"/>
              <a:t>Januar</a:t>
            </a:r>
            <a:r>
              <a:rPr lang="en-US" dirty="0"/>
              <a:t> 2017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Björn Stapel, © Continental AG</a:t>
            </a:r>
            <a:endParaRPr lang="en-US" dirty="0"/>
          </a:p>
        </p:txBody>
      </p:sp>
      <p:graphicFrame>
        <p:nvGraphicFramePr>
          <p:cNvPr id="7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7422748"/>
              </p:ext>
            </p:extLst>
          </p:nvPr>
        </p:nvGraphicFramePr>
        <p:xfrm>
          <a:off x="395288" y="1445445"/>
          <a:ext cx="8353425" cy="12234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Inhaltsplatzhalt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4795527"/>
              </p:ext>
            </p:extLst>
          </p:nvPr>
        </p:nvGraphicFramePr>
        <p:xfrm>
          <a:off x="1392982" y="2508797"/>
          <a:ext cx="6336952" cy="1071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914027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MST_COLOR_1" val="0,0,0,Dark 1"/>
  <p:tag name="MIO_MST_COLOR_2" val="255,255,255,Light 1"/>
  <p:tag name="MIO_MST_COLOR_3" val="255,255,255,Dark 2"/>
  <p:tag name="MIO_MST_COLOR_4" val="235,235,235,Light 2"/>
  <p:tag name="MIO_MST_COLOR_5" val="255,165,0,Accent 1"/>
  <p:tag name="MIO_MST_COLOR_6" val="191,115,0,Accent 2"/>
  <p:tag name="MIO_MST_COLOR_7" val="226,135,0,Accent 3"/>
  <p:tag name="MIO_MST_COLOR_8" val="255,194,102,Accent 4"/>
  <p:tag name="MIO_MST_COLOR_9" val="95,95,95,Accent 5"/>
  <p:tag name="MIO_MST_COLOR_10" val="38,38,38,Accent 6"/>
  <p:tag name="MIO_MST_COLOR_11" val="255,165,0,"/>
  <p:tag name="MIO_MST_COLOR_12" val="119,119,119,"/>
  <p:tag name="MIO_HDS" val="True"/>
  <p:tag name="MIO_EK" val="7226"/>
  <p:tag name="MIO_UPDATE" val="True"/>
  <p:tag name="MIO_VERSION" val="17.03.2014 13:10:57"/>
  <p:tag name="MIO_DBID" val="ED9FF2F2-6643-46BA-B685-7D49126FFAF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Continental AG,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95</Words>
  <Application>Microsoft Office PowerPoint</Application>
  <PresentationFormat>On-screen Show (16:9)</PresentationFormat>
  <Paragraphs>297</Paragraphs>
  <Slides>22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Arial</vt:lpstr>
      <vt:lpstr>Calibri</vt:lpstr>
      <vt:lpstr>Times New Roman</vt:lpstr>
      <vt:lpstr>Wingdings</vt:lpstr>
      <vt:lpstr>Continental AG, 4x3</vt:lpstr>
      <vt:lpstr>Runder Tisch Hannover - Gefahrstoffe</vt:lpstr>
      <vt:lpstr>Einstufungen im Wandel</vt:lpstr>
      <vt:lpstr>Verordnung zum Schutz vor Gefahrstoffen (Gefahrstoffverordnung – GefStoff)</vt:lpstr>
      <vt:lpstr>Grundlage im Arbeitsschutz: Die Gefährdungsbeurteilung</vt:lpstr>
      <vt:lpstr>Zu Beginn: Informationsermittlung</vt:lpstr>
      <vt:lpstr>Zu Beginn: Informationsermittlung</vt:lpstr>
      <vt:lpstr>Zu Beginn: Informationsermittlung</vt:lpstr>
      <vt:lpstr>Informationen erhalten? Plausibilität prüfen!</vt:lpstr>
      <vt:lpstr>Gefährdungsbeurteilung für Gefahrstoffe</vt:lpstr>
      <vt:lpstr>Gefährdungsbeurteilung für Gefahrstoffe</vt:lpstr>
      <vt:lpstr>Gefährdungsbeurteilung für Gefahrstoffe</vt:lpstr>
      <vt:lpstr>Gefährdungsbeurteilung für Gefahrstoffe</vt:lpstr>
      <vt:lpstr>… seit 2005</vt:lpstr>
      <vt:lpstr>Risikokonzept für krebserzeugende Stoffe</vt:lpstr>
      <vt:lpstr>Das Risiko-Akzeptanz-Konzept</vt:lpstr>
      <vt:lpstr>Gefährdungsbeurteilung für Gefahrstoffe</vt:lpstr>
      <vt:lpstr>Arbeitsmedizinische Vorsorge (ArbSchG § 11, ArbMedVV, DGUV Vorschrift 6)</vt:lpstr>
      <vt:lpstr>Gefährdungsbeurteilung für Gefahrstoffe</vt:lpstr>
      <vt:lpstr>Gefährdungsbeurteilung für Gefahrstoffe</vt:lpstr>
      <vt:lpstr>Gefährdungsbeurteilung für Gefahrstoffe</vt:lpstr>
      <vt:lpstr>Gefährdungsbeurteilung für Gefahrstoffe</vt:lpstr>
      <vt:lpstr>PowerPoint Presentation</vt:lpstr>
    </vt:vector>
  </TitlesOfParts>
  <Company>Continental A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Bjoern Stapel</dc:creator>
  <cp:lastModifiedBy>Stapel, Bjoern</cp:lastModifiedBy>
  <cp:revision>56</cp:revision>
  <dcterms:created xsi:type="dcterms:W3CDTF">2014-03-17T12:10:58Z</dcterms:created>
  <dcterms:modified xsi:type="dcterms:W3CDTF">2017-01-25T11:50:47Z</dcterms:modified>
</cp:coreProperties>
</file>